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9.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6" r:id="rId4"/>
    <p:sldMasterId id="2147483926" r:id="rId5"/>
    <p:sldMasterId id="2147483852" r:id="rId6"/>
    <p:sldMasterId id="2147483950" r:id="rId7"/>
    <p:sldMasterId id="2147483988" r:id="rId8"/>
    <p:sldMasterId id="2147484022" r:id="rId9"/>
    <p:sldMasterId id="2147484052" r:id="rId10"/>
    <p:sldMasterId id="2147484067" r:id="rId11"/>
    <p:sldMasterId id="2147484114" r:id="rId12"/>
  </p:sldMasterIdLst>
  <p:notesMasterIdLst>
    <p:notesMasterId r:id="rId14"/>
  </p:notesMasterIdLst>
  <p:handoutMasterIdLst>
    <p:handoutMasterId r:id="rId15"/>
  </p:handoutMasterIdLst>
  <p:sldIdLst>
    <p:sldId id="590" r:id="rId13"/>
  </p:sldIdLst>
  <p:sldSz cx="9144000" cy="6858000" type="screen4x3"/>
  <p:notesSz cx="6805613" cy="99393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pos="2880">
          <p15:clr>
            <a:srgbClr val="A4A3A4"/>
          </p15:clr>
        </p15:guide>
      </p15:sldGuideLst>
    </p:ext>
    <p:ext uri="{2D200454-40CA-4A62-9FC3-DE9A4176ACB9}">
      <p15:notesGuideLst xmlns:p15="http://schemas.microsoft.com/office/powerpoint/2012/main">
        <p15:guide id="1" orient="horz" pos="3130">
          <p15:clr>
            <a:srgbClr val="A4A3A4"/>
          </p15:clr>
        </p15:guide>
        <p15:guide id="2" pos="214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F83"/>
    <a:srgbClr val="0080A7"/>
    <a:srgbClr val="162934"/>
    <a:srgbClr val="D50965"/>
    <a:srgbClr val="00AEEF"/>
    <a:srgbClr val="172934"/>
    <a:srgbClr val="000000"/>
    <a:srgbClr val="A49066"/>
    <a:srgbClr val="FFFFFF"/>
    <a:srgbClr val="F7AC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544" autoAdjust="0"/>
    <p:restoredTop sz="93450" autoAdjust="0"/>
  </p:normalViewPr>
  <p:slideViewPr>
    <p:cSldViewPr snapToGrid="0">
      <p:cViewPr varScale="1">
        <p:scale>
          <a:sx n="64" d="100"/>
          <a:sy n="64" d="100"/>
        </p:scale>
        <p:origin x="1650" y="66"/>
      </p:cViewPr>
      <p:guideLst>
        <p:guide orient="horz"/>
        <p:guide pos="2880"/>
      </p:guideLst>
    </p:cSldViewPr>
  </p:slideViewPr>
  <p:notesTextViewPr>
    <p:cViewPr>
      <p:scale>
        <a:sx n="1" d="1"/>
        <a:sy n="1" d="1"/>
      </p:scale>
      <p:origin x="0" y="0"/>
    </p:cViewPr>
  </p:notesTextViewPr>
  <p:sorterViewPr>
    <p:cViewPr>
      <p:scale>
        <a:sx n="200" d="100"/>
        <a:sy n="200" d="100"/>
      </p:scale>
      <p:origin x="0" y="-99306"/>
    </p:cViewPr>
  </p:sorterViewPr>
  <p:notesViewPr>
    <p:cSldViewPr snapToGrid="0" showGuides="1">
      <p:cViewPr varScale="1">
        <p:scale>
          <a:sx n="113" d="100"/>
          <a:sy n="113" d="100"/>
        </p:scale>
        <p:origin x="-5184" y="-114"/>
      </p:cViewPr>
      <p:guideLst>
        <p:guide orient="horz" pos="3130"/>
        <p:guide pos="214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575"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4450" y="0"/>
            <a:ext cx="2949575" cy="496888"/>
          </a:xfrm>
          <a:prstGeom prst="rect">
            <a:avLst/>
          </a:prstGeom>
        </p:spPr>
        <p:txBody>
          <a:bodyPr vert="horz" lIns="91440" tIns="45720" rIns="91440" bIns="45720" rtlCol="0"/>
          <a:lstStyle>
            <a:lvl1pPr algn="r">
              <a:defRPr sz="1200"/>
            </a:lvl1pPr>
          </a:lstStyle>
          <a:p>
            <a:fld id="{13EBD7D0-308D-4F11-8DC1-7FFCA807003F}" type="datetimeFigureOut">
              <a:rPr lang="en-US" smtClean="0"/>
              <a:t>9/4/2019</a:t>
            </a:fld>
            <a:endParaRPr lang="en-US"/>
          </a:p>
        </p:txBody>
      </p:sp>
      <p:sp>
        <p:nvSpPr>
          <p:cNvPr id="4" name="Footer Placeholder 3"/>
          <p:cNvSpPr>
            <a:spLocks noGrp="1"/>
          </p:cNvSpPr>
          <p:nvPr>
            <p:ph type="ftr" sz="quarter" idx="2"/>
          </p:nvPr>
        </p:nvSpPr>
        <p:spPr>
          <a:xfrm>
            <a:off x="0" y="9440863"/>
            <a:ext cx="2949575" cy="4968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4450" y="9440863"/>
            <a:ext cx="2949575" cy="496887"/>
          </a:xfrm>
          <a:prstGeom prst="rect">
            <a:avLst/>
          </a:prstGeom>
        </p:spPr>
        <p:txBody>
          <a:bodyPr vert="horz" lIns="91440" tIns="45720" rIns="91440" bIns="45720" rtlCol="0" anchor="b"/>
          <a:lstStyle>
            <a:lvl1pPr algn="r">
              <a:defRPr sz="1200"/>
            </a:lvl1pPr>
          </a:lstStyle>
          <a:p>
            <a:fld id="{6C99C97C-FF6B-4431-826D-7043D3C45068}" type="slidenum">
              <a:rPr lang="en-US" smtClean="0"/>
              <a:t>‹#›</a:t>
            </a:fld>
            <a:endParaRPr lang="en-US"/>
          </a:p>
        </p:txBody>
      </p:sp>
    </p:spTree>
    <p:extLst>
      <p:ext uri="{BB962C8B-B14F-4D97-AF65-F5344CB8AC3E}">
        <p14:creationId xmlns:p14="http://schemas.microsoft.com/office/powerpoint/2010/main" val="6638261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9099" cy="496967"/>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4939" y="1"/>
            <a:ext cx="2949099" cy="496967"/>
          </a:xfrm>
          <a:prstGeom prst="rect">
            <a:avLst/>
          </a:prstGeom>
        </p:spPr>
        <p:txBody>
          <a:bodyPr vert="horz" lIns="91440" tIns="45720" rIns="91440" bIns="45720" rtlCol="0"/>
          <a:lstStyle>
            <a:lvl1pPr algn="r">
              <a:defRPr sz="1200"/>
            </a:lvl1pPr>
          </a:lstStyle>
          <a:p>
            <a:fld id="{67A1EDA4-36CE-401C-9D3E-251E526125FD}" type="datetimeFigureOut">
              <a:rPr lang="en-AU" smtClean="0"/>
              <a:t>4/09/2019</a:t>
            </a:fld>
            <a:endParaRPr lang="en-AU"/>
          </a:p>
        </p:txBody>
      </p:sp>
      <p:sp>
        <p:nvSpPr>
          <p:cNvPr id="4" name="Slide Image Placeholder 3"/>
          <p:cNvSpPr>
            <a:spLocks noGrp="1" noRot="1" noChangeAspect="1"/>
          </p:cNvSpPr>
          <p:nvPr>
            <p:ph type="sldImg" idx="2"/>
          </p:nvPr>
        </p:nvSpPr>
        <p:spPr>
          <a:xfrm>
            <a:off x="919163" y="746125"/>
            <a:ext cx="4968875" cy="3725863"/>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562" y="4721186"/>
            <a:ext cx="5444490" cy="4472702"/>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1" y="9440646"/>
            <a:ext cx="2949099" cy="49696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4939" y="9440646"/>
            <a:ext cx="2949099" cy="496967"/>
          </a:xfrm>
          <a:prstGeom prst="rect">
            <a:avLst/>
          </a:prstGeom>
        </p:spPr>
        <p:txBody>
          <a:bodyPr vert="horz" lIns="91440" tIns="45720" rIns="91440" bIns="45720" rtlCol="0" anchor="b"/>
          <a:lstStyle>
            <a:lvl1pPr algn="r">
              <a:defRPr sz="1200"/>
            </a:lvl1pPr>
          </a:lstStyle>
          <a:p>
            <a:fld id="{42B0816C-46F3-488C-9EC3-75CFC4D8B97F}" type="slidenum">
              <a:rPr lang="en-AU" smtClean="0"/>
              <a:t>‹#›</a:t>
            </a:fld>
            <a:endParaRPr lang="en-AU"/>
          </a:p>
        </p:txBody>
      </p:sp>
    </p:spTree>
    <p:extLst>
      <p:ext uri="{BB962C8B-B14F-4D97-AF65-F5344CB8AC3E}">
        <p14:creationId xmlns:p14="http://schemas.microsoft.com/office/powerpoint/2010/main" val="8574342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2B0816C-46F3-488C-9EC3-75CFC4D8B97F}" type="slidenum">
              <a:rPr lang="en-AU" smtClean="0"/>
              <a:t>1</a:t>
            </a:fld>
            <a:endParaRPr lang="en-AU"/>
          </a:p>
        </p:txBody>
      </p:sp>
    </p:spTree>
    <p:extLst>
      <p:ext uri="{BB962C8B-B14F-4D97-AF65-F5344CB8AC3E}">
        <p14:creationId xmlns:p14="http://schemas.microsoft.com/office/powerpoint/2010/main" val="9507918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8.xml"/><Relationship Id="rId7" Type="http://schemas.openxmlformats.org/officeDocument/2006/relationships/image" Target="../media/image13.pn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0.bin"/><Relationship Id="rId9" Type="http://schemas.openxmlformats.org/officeDocument/2006/relationships/image" Target="../media/image15.pn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1.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ody - 1 column whit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451354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601663" y="1828800"/>
            <a:ext cx="7945200" cy="4673600"/>
          </a:xfrm>
          <a:prstGeom prst="rect">
            <a:avLst/>
          </a:prstGeom>
        </p:spPr>
        <p:txBody>
          <a:bodyPr lIns="0" tIns="0" rIns="0" bIns="0"/>
          <a:lstStyle>
            <a:lvl1pPr marL="0" indent="0">
              <a:buClrTx/>
              <a:buFont typeface="Arial" panose="020B0604020202020204" pitchFamily="34" charset="0"/>
              <a:buNone/>
              <a:defRPr/>
            </a:lvl1pPr>
            <a:lvl3pPr marL="715963" indent="-357188">
              <a:buFont typeface="Segoe UI" panose="020B0502040204020203" pitchFamily="34" charset="0"/>
              <a:buChar char="̵"/>
              <a:defRPr/>
            </a:lvl3pPr>
            <a:lvl5pPr marL="1431925" indent="-357188">
              <a:buFont typeface="Segoe UI" panose="020B0502040204020203"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1"/>
          </p:nvPr>
        </p:nvSpPr>
        <p:spPr/>
        <p:txBody>
          <a:bodyPr/>
          <a:lstStyle/>
          <a:p>
            <a:r>
              <a:rPr lang="en-US"/>
              <a:t>Timesaver Template</a:t>
            </a:r>
          </a:p>
        </p:txBody>
      </p:sp>
      <p:sp>
        <p:nvSpPr>
          <p:cNvPr id="4" name="Slide Number Placeholder 3"/>
          <p:cNvSpPr>
            <a:spLocks noGrp="1"/>
          </p:cNvSpPr>
          <p:nvPr>
            <p:ph type="sldNum" sz="quarter" idx="12"/>
          </p:nvPr>
        </p:nvSpPr>
        <p:spPr/>
        <p:txBody>
          <a:bodyPr/>
          <a:lstStyle/>
          <a:p>
            <a:fld id="{92D0FD2A-77A2-4D72-8810-21B59CAC11F0}" type="slidenum">
              <a:rPr lang="en-US" smtClean="0"/>
              <a:pPr/>
              <a:t>‹#›</a:t>
            </a:fld>
            <a:endParaRPr lang="en-US"/>
          </a:p>
        </p:txBody>
      </p:sp>
      <p:sp>
        <p:nvSpPr>
          <p:cNvPr id="8" name="Content Placeholder 7">
            <a:extLst>
              <a:ext uri="{FF2B5EF4-FFF2-40B4-BE49-F238E27FC236}">
                <a16:creationId xmlns:a16="http://schemas.microsoft.com/office/drawing/2014/main" id="{8553EB22-B929-409B-B015-A42152E1B76D}"/>
              </a:ext>
            </a:extLst>
          </p:cNvPr>
          <p:cNvSpPr>
            <a:spLocks noGrp="1"/>
          </p:cNvSpPr>
          <p:nvPr>
            <p:ph sz="quarter" idx="13"/>
          </p:nvPr>
        </p:nvSpPr>
        <p:spPr>
          <a:xfrm>
            <a:off x="7697788" y="6659563"/>
            <a:ext cx="914400" cy="91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34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4 Body with image white">
    <p:bg>
      <p:bgPr>
        <a:solidFill>
          <a:schemeClr val="bg1"/>
        </a:solidFill>
        <a:effectLst/>
      </p:bgPr>
    </p:bg>
    <p:spTree>
      <p:nvGrpSpPr>
        <p:cNvPr id="1" name=""/>
        <p:cNvGrpSpPr/>
        <p:nvPr/>
      </p:nvGrpSpPr>
      <p:grpSpPr>
        <a:xfrm>
          <a:off x="0" y="0"/>
          <a:ext cx="0" cy="0"/>
          <a:chOff x="0" y="0"/>
          <a:chExt cx="0" cy="0"/>
        </a:xfrm>
      </p:grpSpPr>
      <p:sp>
        <p:nvSpPr>
          <p:cNvPr id="4" name="Freeform 3"/>
          <p:cNvSpPr/>
          <p:nvPr userDrawn="1"/>
        </p:nvSpPr>
        <p:spPr>
          <a:xfrm>
            <a:off x="697775" y="3365500"/>
            <a:ext cx="2654300" cy="3543300"/>
          </a:xfrm>
          <a:custGeom>
            <a:avLst/>
            <a:gdLst>
              <a:gd name="connsiteX0" fmla="*/ 1314450 w 2654300"/>
              <a:gd name="connsiteY0" fmla="*/ 0 h 3543300"/>
              <a:gd name="connsiteX1" fmla="*/ 2654300 w 2654300"/>
              <a:gd name="connsiteY1" fmla="*/ 3543300 h 3543300"/>
              <a:gd name="connsiteX2" fmla="*/ 0 w 2654300"/>
              <a:gd name="connsiteY2" fmla="*/ 3543300 h 3543300"/>
              <a:gd name="connsiteX3" fmla="*/ 1314450 w 2654300"/>
              <a:gd name="connsiteY3" fmla="*/ 0 h 3543300"/>
            </a:gdLst>
            <a:ahLst/>
            <a:cxnLst>
              <a:cxn ang="0">
                <a:pos x="connsiteX0" y="connsiteY0"/>
              </a:cxn>
              <a:cxn ang="0">
                <a:pos x="connsiteX1" y="connsiteY1"/>
              </a:cxn>
              <a:cxn ang="0">
                <a:pos x="connsiteX2" y="connsiteY2"/>
              </a:cxn>
              <a:cxn ang="0">
                <a:pos x="connsiteX3" y="connsiteY3"/>
              </a:cxn>
            </a:cxnLst>
            <a:rect l="l" t="t" r="r" b="b"/>
            <a:pathLst>
              <a:path w="2654300" h="3543300">
                <a:moveTo>
                  <a:pt x="1314450" y="0"/>
                </a:moveTo>
                <a:lnTo>
                  <a:pt x="2654300" y="3543300"/>
                </a:lnTo>
                <a:lnTo>
                  <a:pt x="0" y="3543300"/>
                </a:lnTo>
                <a:lnTo>
                  <a:pt x="131445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8"/>
          <p:cNvSpPr>
            <a:spLocks noGrp="1"/>
          </p:cNvSpPr>
          <p:nvPr>
            <p:ph type="pic" sz="quarter" idx="13"/>
          </p:nvPr>
        </p:nvSpPr>
        <p:spPr>
          <a:xfrm>
            <a:off x="-63500" y="-58738"/>
            <a:ext cx="3462338" cy="6973888"/>
          </a:xfrm>
          <a:custGeom>
            <a:avLst/>
            <a:gdLst>
              <a:gd name="connsiteX0" fmla="*/ 0 w 3462338"/>
              <a:gd name="connsiteY0" fmla="*/ 0 h 6973888"/>
              <a:gd name="connsiteX1" fmla="*/ 3462338 w 3462338"/>
              <a:gd name="connsiteY1" fmla="*/ 0 h 6973888"/>
              <a:gd name="connsiteX2" fmla="*/ 3462338 w 3462338"/>
              <a:gd name="connsiteY2" fmla="*/ 6973888 h 6973888"/>
              <a:gd name="connsiteX3" fmla="*/ 0 w 3462338"/>
              <a:gd name="connsiteY3" fmla="*/ 6973888 h 6973888"/>
              <a:gd name="connsiteX4" fmla="*/ 0 w 3462338"/>
              <a:gd name="connsiteY4" fmla="*/ 0 h 6973888"/>
              <a:gd name="connsiteX0" fmla="*/ 0 w 3462338"/>
              <a:gd name="connsiteY0" fmla="*/ 0 h 6973888"/>
              <a:gd name="connsiteX1" fmla="*/ 3462338 w 3462338"/>
              <a:gd name="connsiteY1" fmla="*/ 0 h 6973888"/>
              <a:gd name="connsiteX2" fmla="*/ 3462338 w 3462338"/>
              <a:gd name="connsiteY2" fmla="*/ 6973888 h 6973888"/>
              <a:gd name="connsiteX3" fmla="*/ 825500 w 3462338"/>
              <a:gd name="connsiteY3" fmla="*/ 6967538 h 6973888"/>
              <a:gd name="connsiteX4" fmla="*/ 0 w 3462338"/>
              <a:gd name="connsiteY4" fmla="*/ 6973888 h 6973888"/>
              <a:gd name="connsiteX5" fmla="*/ 0 w 3462338"/>
              <a:gd name="connsiteY5" fmla="*/ 0 h 6973888"/>
              <a:gd name="connsiteX0" fmla="*/ 0 w 3462338"/>
              <a:gd name="connsiteY0" fmla="*/ 0 h 6973888"/>
              <a:gd name="connsiteX1" fmla="*/ 3462338 w 3462338"/>
              <a:gd name="connsiteY1" fmla="*/ 0 h 6973888"/>
              <a:gd name="connsiteX2" fmla="*/ 825500 w 3462338"/>
              <a:gd name="connsiteY2" fmla="*/ 6967538 h 6973888"/>
              <a:gd name="connsiteX3" fmla="*/ 0 w 3462338"/>
              <a:gd name="connsiteY3" fmla="*/ 6973888 h 6973888"/>
              <a:gd name="connsiteX4" fmla="*/ 0 w 3462338"/>
              <a:gd name="connsiteY4" fmla="*/ 0 h 6973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2338" h="6973888">
                <a:moveTo>
                  <a:pt x="0" y="0"/>
                </a:moveTo>
                <a:lnTo>
                  <a:pt x="3462338" y="0"/>
                </a:lnTo>
                <a:lnTo>
                  <a:pt x="825500" y="6967538"/>
                </a:lnTo>
                <a:lnTo>
                  <a:pt x="0" y="6973888"/>
                </a:lnTo>
                <a:lnTo>
                  <a:pt x="0" y="0"/>
                </a:lnTo>
                <a:close/>
              </a:path>
            </a:pathLst>
          </a:custGeom>
          <a:solidFill>
            <a:schemeClr val="bg1">
              <a:lumMod val="65000"/>
            </a:schemeClr>
          </a:solidFill>
        </p:spPr>
        <p:txBody>
          <a:bodyPr lIns="144000" tIns="3024000"/>
          <a:lstStyle>
            <a:lvl1pPr>
              <a:defRPr sz="1400" b="1">
                <a:solidFill>
                  <a:schemeClr val="bg1"/>
                </a:solidFill>
              </a:defRPr>
            </a:lvl1pPr>
          </a:lstStyle>
          <a:p>
            <a:endParaRPr lang="en-US"/>
          </a:p>
        </p:txBody>
      </p:sp>
      <p:sp>
        <p:nvSpPr>
          <p:cNvPr id="5" name="Parallelogram 4"/>
          <p:cNvSpPr/>
          <p:nvPr userDrawn="1"/>
        </p:nvSpPr>
        <p:spPr>
          <a:xfrm>
            <a:off x="3260725" y="1364891"/>
            <a:ext cx="720000" cy="60959"/>
          </a:xfrm>
          <a:prstGeom prst="parallelogram">
            <a:avLst>
              <a:gd name="adj" fmla="val 3799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Text Placeholder 2"/>
          <p:cNvSpPr>
            <a:spLocks noGrp="1"/>
          </p:cNvSpPr>
          <p:nvPr>
            <p:ph type="body" sz="quarter" idx="11"/>
          </p:nvPr>
        </p:nvSpPr>
        <p:spPr>
          <a:xfrm>
            <a:off x="3260725" y="1828800"/>
            <a:ext cx="5287962" cy="456035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260725" y="398977"/>
            <a:ext cx="5297488" cy="800867"/>
          </a:xfrm>
        </p:spPr>
        <p:txBody>
          <a:bodyPr/>
          <a:lstStyle/>
          <a:p>
            <a:r>
              <a:rPr lang="en-US" dirty="0"/>
              <a:t>Click to edit Master title style</a:t>
            </a:r>
          </a:p>
        </p:txBody>
      </p:sp>
    </p:spTree>
    <p:extLst>
      <p:ext uri="{BB962C8B-B14F-4D97-AF65-F5344CB8AC3E}">
        <p14:creationId xmlns:p14="http://schemas.microsoft.com/office/powerpoint/2010/main" val="2569157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ody with image dark">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594683" y="2061633"/>
            <a:ext cx="3489325" cy="3903133"/>
          </a:xfrm>
          <a:prstGeom prst="rect">
            <a:avLst/>
          </a:prstGeom>
        </p:spPr>
        <p:txBody>
          <a:bodyPr lIns="0" tIns="0" rIns="0" bIns="0"/>
          <a:lstStyle>
            <a:lvl1pPr>
              <a:defRPr>
                <a:solidFill>
                  <a:schemeClr val="bg1"/>
                </a:solidFill>
              </a:defRPr>
            </a:lvl1pPr>
            <a:lvl3pPr marL="715963" indent="-357188">
              <a:buFont typeface="Segoe UI" panose="020B0502040204020203" pitchFamily="34" charset="0"/>
              <a:buChar char="̵"/>
              <a:defRPr/>
            </a:lvl3pPr>
            <a:lvl5pPr marL="1431925" indent="-357188">
              <a:buFont typeface="Segoe UI" panose="020B0502040204020203" pitchFamily="34" charset="0"/>
              <a:buChar char="̵"/>
              <a:defRPr/>
            </a:lvl5pPr>
          </a:lstStyle>
          <a:p>
            <a:pPr lvl="0"/>
            <a:r>
              <a:rPr lang="en-US" dirty="0"/>
              <a:t>Click to edit Master text styles</a:t>
            </a:r>
          </a:p>
        </p:txBody>
      </p:sp>
      <p:sp>
        <p:nvSpPr>
          <p:cNvPr id="7" name="Picture Placeholder 6"/>
          <p:cNvSpPr>
            <a:spLocks noGrp="1"/>
          </p:cNvSpPr>
          <p:nvPr>
            <p:ph type="pic" sz="quarter" idx="11"/>
          </p:nvPr>
        </p:nvSpPr>
        <p:spPr>
          <a:xfrm>
            <a:off x="3604260" y="-90593"/>
            <a:ext cx="5593080" cy="7008000"/>
          </a:xfrm>
          <a:custGeom>
            <a:avLst/>
            <a:gdLst>
              <a:gd name="connsiteX0" fmla="*/ 0 w 5593080"/>
              <a:gd name="connsiteY0" fmla="*/ 0 h 5256000"/>
              <a:gd name="connsiteX1" fmla="*/ 5593080 w 5593080"/>
              <a:gd name="connsiteY1" fmla="*/ 0 h 5256000"/>
              <a:gd name="connsiteX2" fmla="*/ 5593080 w 5593080"/>
              <a:gd name="connsiteY2" fmla="*/ 5256000 h 5256000"/>
              <a:gd name="connsiteX3" fmla="*/ 0 w 5593080"/>
              <a:gd name="connsiteY3" fmla="*/ 5256000 h 5256000"/>
              <a:gd name="connsiteX4" fmla="*/ 0 w 5593080"/>
              <a:gd name="connsiteY4" fmla="*/ 0 h 5256000"/>
              <a:gd name="connsiteX0" fmla="*/ 0 w 5593080"/>
              <a:gd name="connsiteY0" fmla="*/ 0 h 5256000"/>
              <a:gd name="connsiteX1" fmla="*/ 5593080 w 5593080"/>
              <a:gd name="connsiteY1" fmla="*/ 0 h 5256000"/>
              <a:gd name="connsiteX2" fmla="*/ 5593080 w 5593080"/>
              <a:gd name="connsiteY2" fmla="*/ 5256000 h 5256000"/>
              <a:gd name="connsiteX3" fmla="*/ 1988820 w 5593080"/>
              <a:gd name="connsiteY3" fmla="*/ 5249545 h 5256000"/>
              <a:gd name="connsiteX4" fmla="*/ 0 w 5593080"/>
              <a:gd name="connsiteY4" fmla="*/ 5256000 h 5256000"/>
              <a:gd name="connsiteX5" fmla="*/ 0 w 5593080"/>
              <a:gd name="connsiteY5" fmla="*/ 0 h 5256000"/>
              <a:gd name="connsiteX0" fmla="*/ 0 w 5593080"/>
              <a:gd name="connsiteY0" fmla="*/ 0 h 5256000"/>
              <a:gd name="connsiteX1" fmla="*/ 5593080 w 5593080"/>
              <a:gd name="connsiteY1" fmla="*/ 0 h 5256000"/>
              <a:gd name="connsiteX2" fmla="*/ 5593080 w 5593080"/>
              <a:gd name="connsiteY2" fmla="*/ 5256000 h 5256000"/>
              <a:gd name="connsiteX3" fmla="*/ 1988820 w 5593080"/>
              <a:gd name="connsiteY3" fmla="*/ 5249545 h 5256000"/>
              <a:gd name="connsiteX4" fmla="*/ 0 w 5593080"/>
              <a:gd name="connsiteY4" fmla="*/ 0 h 525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080" h="5256000">
                <a:moveTo>
                  <a:pt x="0" y="0"/>
                </a:moveTo>
                <a:lnTo>
                  <a:pt x="5593080" y="0"/>
                </a:lnTo>
                <a:lnTo>
                  <a:pt x="5593080" y="5256000"/>
                </a:lnTo>
                <a:lnTo>
                  <a:pt x="1988820" y="5249545"/>
                </a:lnTo>
                <a:lnTo>
                  <a:pt x="0" y="0"/>
                </a:lnTo>
                <a:close/>
              </a:path>
            </a:pathLst>
          </a:custGeom>
        </p:spPr>
        <p:txBody>
          <a:bodyPr lIns="2664000" tIns="2196000"/>
          <a:lstStyle>
            <a:lvl1pPr>
              <a:defRPr sz="1400" b="1">
                <a:solidFill>
                  <a:schemeClr val="bg1"/>
                </a:solidFill>
              </a:defRPr>
            </a:lvl1pPr>
          </a:lstStyle>
          <a:p>
            <a:endParaRPr lang="en-US"/>
          </a:p>
        </p:txBody>
      </p:sp>
    </p:spTree>
    <p:extLst>
      <p:ext uri="{BB962C8B-B14F-4D97-AF65-F5344CB8AC3E}">
        <p14:creationId xmlns:p14="http://schemas.microsoft.com/office/powerpoint/2010/main" val="3240571124"/>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Full page image with headin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144000" cy="6858000"/>
          </a:xfrm>
          <a:prstGeom prst="rect">
            <a:avLst/>
          </a:prstGeom>
        </p:spPr>
        <p:txBody>
          <a:bodyPr lIns="0" tIns="2124000"/>
          <a:lstStyle>
            <a:lvl1pPr algn="ctr">
              <a:defRPr sz="1400" b="1">
                <a:solidFill>
                  <a:schemeClr val="bg1"/>
                </a:solidFill>
              </a:defRPr>
            </a:lvl1pPr>
          </a:lstStyle>
          <a:p>
            <a:endParaRPr lang="en-US" dirty="0"/>
          </a:p>
        </p:txBody>
      </p:sp>
      <p:sp>
        <p:nvSpPr>
          <p:cNvPr id="2" name="Title 1"/>
          <p:cNvSpPr>
            <a:spLocks noGrp="1"/>
          </p:cNvSpPr>
          <p:nvPr>
            <p:ph type="title"/>
          </p:nvPr>
        </p:nvSpPr>
        <p:spPr>
          <a:xfrm>
            <a:off x="4023360" y="4130042"/>
            <a:ext cx="4442460" cy="1790700"/>
          </a:xfrm>
        </p:spPr>
        <p:txBody>
          <a:bodyPr>
            <a:noAutofit/>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83593108"/>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 Divider with image">
    <p:spTree>
      <p:nvGrpSpPr>
        <p:cNvPr id="1" name=""/>
        <p:cNvGrpSpPr/>
        <p:nvPr/>
      </p:nvGrpSpPr>
      <p:grpSpPr>
        <a:xfrm>
          <a:off x="0" y="0"/>
          <a:ext cx="0" cy="0"/>
          <a:chOff x="0" y="0"/>
          <a:chExt cx="0" cy="0"/>
        </a:xfrm>
      </p:grpSpPr>
      <p:sp>
        <p:nvSpPr>
          <p:cNvPr id="9" name="Picture Placeholder 8"/>
          <p:cNvSpPr>
            <a:spLocks noGrp="1"/>
          </p:cNvSpPr>
          <p:nvPr>
            <p:ph type="pic" sz="quarter" idx="10" hasCustomPrompt="1"/>
          </p:nvPr>
        </p:nvSpPr>
        <p:spPr>
          <a:xfrm>
            <a:off x="5041032" y="-34440"/>
            <a:ext cx="4159250" cy="6934219"/>
          </a:xfrm>
          <a:custGeom>
            <a:avLst/>
            <a:gdLst>
              <a:gd name="connsiteX0" fmla="*/ 0 w 5842000"/>
              <a:gd name="connsiteY0" fmla="*/ 5194314 h 5194314"/>
              <a:gd name="connsiteX1" fmla="*/ 1984540 w 5842000"/>
              <a:gd name="connsiteY1" fmla="*/ 0 h 5194314"/>
              <a:gd name="connsiteX2" fmla="*/ 5842000 w 5842000"/>
              <a:gd name="connsiteY2" fmla="*/ 0 h 5194314"/>
              <a:gd name="connsiteX3" fmla="*/ 3857460 w 5842000"/>
              <a:gd name="connsiteY3" fmla="*/ 5194314 h 5194314"/>
              <a:gd name="connsiteX4" fmla="*/ 0 w 5842000"/>
              <a:gd name="connsiteY4" fmla="*/ 5194314 h 5194314"/>
              <a:gd name="connsiteX0" fmla="*/ 0 w 4159250"/>
              <a:gd name="connsiteY0" fmla="*/ 5194314 h 5194314"/>
              <a:gd name="connsiteX1" fmla="*/ 1984540 w 4159250"/>
              <a:gd name="connsiteY1" fmla="*/ 0 h 5194314"/>
              <a:gd name="connsiteX2" fmla="*/ 4159250 w 4159250"/>
              <a:gd name="connsiteY2" fmla="*/ 0 h 5194314"/>
              <a:gd name="connsiteX3" fmla="*/ 3857460 w 4159250"/>
              <a:gd name="connsiteY3" fmla="*/ 5194314 h 5194314"/>
              <a:gd name="connsiteX4" fmla="*/ 0 w 4159250"/>
              <a:gd name="connsiteY4" fmla="*/ 5194314 h 5194314"/>
              <a:gd name="connsiteX0" fmla="*/ 0 w 4159250"/>
              <a:gd name="connsiteY0" fmla="*/ 5194314 h 5200664"/>
              <a:gd name="connsiteX1" fmla="*/ 1984540 w 4159250"/>
              <a:gd name="connsiteY1" fmla="*/ 0 h 5200664"/>
              <a:gd name="connsiteX2" fmla="*/ 4159250 w 4159250"/>
              <a:gd name="connsiteY2" fmla="*/ 0 h 5200664"/>
              <a:gd name="connsiteX3" fmla="*/ 4130510 w 4159250"/>
              <a:gd name="connsiteY3" fmla="*/ 5200664 h 5200664"/>
              <a:gd name="connsiteX4" fmla="*/ 0 w 4159250"/>
              <a:gd name="connsiteY4" fmla="*/ 5194314 h 5200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9250" h="5200664">
                <a:moveTo>
                  <a:pt x="0" y="5194314"/>
                </a:moveTo>
                <a:lnTo>
                  <a:pt x="1984540" y="0"/>
                </a:lnTo>
                <a:lnTo>
                  <a:pt x="4159250" y="0"/>
                </a:lnTo>
                <a:lnTo>
                  <a:pt x="4130510" y="5200664"/>
                </a:lnTo>
                <a:lnTo>
                  <a:pt x="0" y="5194314"/>
                </a:lnTo>
                <a:close/>
              </a:path>
            </a:pathLst>
          </a:custGeom>
          <a:solidFill>
            <a:schemeClr val="bg1"/>
          </a:solidFill>
        </p:spPr>
        <p:txBody>
          <a:bodyPr lIns="1368000" tIns="1944000" rIns="180000">
            <a:normAutofit/>
          </a:bodyPr>
          <a:lstStyle>
            <a:lvl1pPr>
              <a:defRPr sz="1200" baseline="0">
                <a:solidFill>
                  <a:schemeClr val="accent3"/>
                </a:solidFill>
              </a:defRPr>
            </a:lvl1pPr>
          </a:lstStyle>
          <a:p>
            <a:r>
              <a:rPr lang="en-AU" dirty="0"/>
              <a:t>To insert an image click on icon or leave blank</a:t>
            </a:r>
            <a:endParaRPr lang="en-US" dirty="0"/>
          </a:p>
        </p:txBody>
      </p:sp>
      <p:sp>
        <p:nvSpPr>
          <p:cNvPr id="10" name="Title 9"/>
          <p:cNvSpPr>
            <a:spLocks noGrp="1"/>
          </p:cNvSpPr>
          <p:nvPr>
            <p:ph type="title"/>
          </p:nvPr>
        </p:nvSpPr>
        <p:spPr>
          <a:xfrm>
            <a:off x="600084" y="2226733"/>
            <a:ext cx="5292723" cy="3005667"/>
          </a:xfrm>
        </p:spPr>
        <p:txBody>
          <a:bodyPr anchor="t">
            <a:noAutofit/>
          </a:bodyPr>
          <a:lstStyle>
            <a:lvl1pPr>
              <a:lnSpc>
                <a:spcPts val="3600"/>
              </a:lnSpc>
              <a:defRPr sz="3600">
                <a:solidFill>
                  <a:schemeClr val="bg1"/>
                </a:solidFill>
              </a:defRPr>
            </a:lvl1pPr>
          </a:lstStyle>
          <a:p>
            <a:r>
              <a:rPr lang="en-US" dirty="0"/>
              <a:t>Click to edit Master title style</a:t>
            </a:r>
          </a:p>
        </p:txBody>
      </p:sp>
      <p:sp>
        <p:nvSpPr>
          <p:cNvPr id="5" name="Parallelogram 4"/>
          <p:cNvSpPr/>
          <p:nvPr userDrawn="1"/>
        </p:nvSpPr>
        <p:spPr>
          <a:xfrm>
            <a:off x="593726" y="1364894"/>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Tree>
    <p:extLst>
      <p:ext uri="{BB962C8B-B14F-4D97-AF65-F5344CB8AC3E}">
        <p14:creationId xmlns:p14="http://schemas.microsoft.com/office/powerpoint/2010/main" val="629080831"/>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 Divider with image">
    <p:spTree>
      <p:nvGrpSpPr>
        <p:cNvPr id="1" name=""/>
        <p:cNvGrpSpPr/>
        <p:nvPr/>
      </p:nvGrpSpPr>
      <p:grpSpPr>
        <a:xfrm>
          <a:off x="0" y="0"/>
          <a:ext cx="0" cy="0"/>
          <a:chOff x="0" y="0"/>
          <a:chExt cx="0" cy="0"/>
        </a:xfrm>
      </p:grpSpPr>
      <p:sp>
        <p:nvSpPr>
          <p:cNvPr id="9" name="Picture Placeholder 8"/>
          <p:cNvSpPr>
            <a:spLocks noGrp="1"/>
          </p:cNvSpPr>
          <p:nvPr>
            <p:ph type="pic" sz="quarter" idx="10" hasCustomPrompt="1"/>
          </p:nvPr>
        </p:nvSpPr>
        <p:spPr>
          <a:xfrm>
            <a:off x="5041032" y="-34440"/>
            <a:ext cx="4159250" cy="6934219"/>
          </a:xfrm>
          <a:custGeom>
            <a:avLst/>
            <a:gdLst>
              <a:gd name="connsiteX0" fmla="*/ 0 w 5842000"/>
              <a:gd name="connsiteY0" fmla="*/ 5194314 h 5194314"/>
              <a:gd name="connsiteX1" fmla="*/ 1984540 w 5842000"/>
              <a:gd name="connsiteY1" fmla="*/ 0 h 5194314"/>
              <a:gd name="connsiteX2" fmla="*/ 5842000 w 5842000"/>
              <a:gd name="connsiteY2" fmla="*/ 0 h 5194314"/>
              <a:gd name="connsiteX3" fmla="*/ 3857460 w 5842000"/>
              <a:gd name="connsiteY3" fmla="*/ 5194314 h 5194314"/>
              <a:gd name="connsiteX4" fmla="*/ 0 w 5842000"/>
              <a:gd name="connsiteY4" fmla="*/ 5194314 h 5194314"/>
              <a:gd name="connsiteX0" fmla="*/ 0 w 4159250"/>
              <a:gd name="connsiteY0" fmla="*/ 5194314 h 5194314"/>
              <a:gd name="connsiteX1" fmla="*/ 1984540 w 4159250"/>
              <a:gd name="connsiteY1" fmla="*/ 0 h 5194314"/>
              <a:gd name="connsiteX2" fmla="*/ 4159250 w 4159250"/>
              <a:gd name="connsiteY2" fmla="*/ 0 h 5194314"/>
              <a:gd name="connsiteX3" fmla="*/ 3857460 w 4159250"/>
              <a:gd name="connsiteY3" fmla="*/ 5194314 h 5194314"/>
              <a:gd name="connsiteX4" fmla="*/ 0 w 4159250"/>
              <a:gd name="connsiteY4" fmla="*/ 5194314 h 5194314"/>
              <a:gd name="connsiteX0" fmla="*/ 0 w 4159250"/>
              <a:gd name="connsiteY0" fmla="*/ 5194314 h 5200664"/>
              <a:gd name="connsiteX1" fmla="*/ 1984540 w 4159250"/>
              <a:gd name="connsiteY1" fmla="*/ 0 h 5200664"/>
              <a:gd name="connsiteX2" fmla="*/ 4159250 w 4159250"/>
              <a:gd name="connsiteY2" fmla="*/ 0 h 5200664"/>
              <a:gd name="connsiteX3" fmla="*/ 4130510 w 4159250"/>
              <a:gd name="connsiteY3" fmla="*/ 5200664 h 5200664"/>
              <a:gd name="connsiteX4" fmla="*/ 0 w 4159250"/>
              <a:gd name="connsiteY4" fmla="*/ 5194314 h 5200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9250" h="5200664">
                <a:moveTo>
                  <a:pt x="0" y="5194314"/>
                </a:moveTo>
                <a:lnTo>
                  <a:pt x="1984540" y="0"/>
                </a:lnTo>
                <a:lnTo>
                  <a:pt x="4159250" y="0"/>
                </a:lnTo>
                <a:lnTo>
                  <a:pt x="4130510" y="5200664"/>
                </a:lnTo>
                <a:lnTo>
                  <a:pt x="0" y="5194314"/>
                </a:lnTo>
                <a:close/>
              </a:path>
            </a:pathLst>
          </a:custGeom>
          <a:solidFill>
            <a:schemeClr val="bg1"/>
          </a:solidFill>
        </p:spPr>
        <p:txBody>
          <a:bodyPr lIns="1368000" tIns="1944000" rIns="180000">
            <a:normAutofit/>
          </a:bodyPr>
          <a:lstStyle>
            <a:lvl1pPr>
              <a:defRPr sz="1200" baseline="0">
                <a:solidFill>
                  <a:schemeClr val="accent3"/>
                </a:solidFill>
              </a:defRPr>
            </a:lvl1pPr>
          </a:lstStyle>
          <a:p>
            <a:r>
              <a:rPr lang="en-AU" dirty="0"/>
              <a:t>To insert an image click on icon or leave blank</a:t>
            </a:r>
            <a:endParaRPr lang="en-US" dirty="0"/>
          </a:p>
        </p:txBody>
      </p:sp>
      <p:sp>
        <p:nvSpPr>
          <p:cNvPr id="10" name="Title 9"/>
          <p:cNvSpPr>
            <a:spLocks noGrp="1"/>
          </p:cNvSpPr>
          <p:nvPr>
            <p:ph type="title"/>
          </p:nvPr>
        </p:nvSpPr>
        <p:spPr>
          <a:xfrm>
            <a:off x="600084" y="2226733"/>
            <a:ext cx="5292723" cy="3005667"/>
          </a:xfrm>
        </p:spPr>
        <p:txBody>
          <a:bodyPr anchor="t">
            <a:noAutofit/>
          </a:bodyPr>
          <a:lstStyle>
            <a:lvl1pPr>
              <a:lnSpc>
                <a:spcPts val="3600"/>
              </a:lnSpc>
              <a:defRPr sz="3600">
                <a:solidFill>
                  <a:schemeClr val="bg1"/>
                </a:solidFill>
              </a:defRPr>
            </a:lvl1pPr>
          </a:lstStyle>
          <a:p>
            <a:r>
              <a:rPr lang="en-US" dirty="0"/>
              <a:t>Click to edit Master title style</a:t>
            </a:r>
          </a:p>
        </p:txBody>
      </p:sp>
      <p:sp>
        <p:nvSpPr>
          <p:cNvPr id="5" name="Parallelogram 4"/>
          <p:cNvSpPr/>
          <p:nvPr userDrawn="1"/>
        </p:nvSpPr>
        <p:spPr>
          <a:xfrm>
            <a:off x="593726" y="1364894"/>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Tree>
    <p:extLst>
      <p:ext uri="{BB962C8B-B14F-4D97-AF65-F5344CB8AC3E}">
        <p14:creationId xmlns:p14="http://schemas.microsoft.com/office/powerpoint/2010/main" val="3729908056"/>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 Divider with image">
    <p:spTree>
      <p:nvGrpSpPr>
        <p:cNvPr id="1" name=""/>
        <p:cNvGrpSpPr/>
        <p:nvPr/>
      </p:nvGrpSpPr>
      <p:grpSpPr>
        <a:xfrm>
          <a:off x="0" y="0"/>
          <a:ext cx="0" cy="0"/>
          <a:chOff x="0" y="0"/>
          <a:chExt cx="0" cy="0"/>
        </a:xfrm>
      </p:grpSpPr>
      <p:sp>
        <p:nvSpPr>
          <p:cNvPr id="9" name="Picture Placeholder 8"/>
          <p:cNvSpPr>
            <a:spLocks noGrp="1"/>
          </p:cNvSpPr>
          <p:nvPr>
            <p:ph type="pic" sz="quarter" idx="10" hasCustomPrompt="1"/>
          </p:nvPr>
        </p:nvSpPr>
        <p:spPr>
          <a:xfrm>
            <a:off x="5041032" y="-34440"/>
            <a:ext cx="4159250" cy="6934219"/>
          </a:xfrm>
          <a:custGeom>
            <a:avLst/>
            <a:gdLst>
              <a:gd name="connsiteX0" fmla="*/ 0 w 5842000"/>
              <a:gd name="connsiteY0" fmla="*/ 5194314 h 5194314"/>
              <a:gd name="connsiteX1" fmla="*/ 1984540 w 5842000"/>
              <a:gd name="connsiteY1" fmla="*/ 0 h 5194314"/>
              <a:gd name="connsiteX2" fmla="*/ 5842000 w 5842000"/>
              <a:gd name="connsiteY2" fmla="*/ 0 h 5194314"/>
              <a:gd name="connsiteX3" fmla="*/ 3857460 w 5842000"/>
              <a:gd name="connsiteY3" fmla="*/ 5194314 h 5194314"/>
              <a:gd name="connsiteX4" fmla="*/ 0 w 5842000"/>
              <a:gd name="connsiteY4" fmla="*/ 5194314 h 5194314"/>
              <a:gd name="connsiteX0" fmla="*/ 0 w 4159250"/>
              <a:gd name="connsiteY0" fmla="*/ 5194314 h 5194314"/>
              <a:gd name="connsiteX1" fmla="*/ 1984540 w 4159250"/>
              <a:gd name="connsiteY1" fmla="*/ 0 h 5194314"/>
              <a:gd name="connsiteX2" fmla="*/ 4159250 w 4159250"/>
              <a:gd name="connsiteY2" fmla="*/ 0 h 5194314"/>
              <a:gd name="connsiteX3" fmla="*/ 3857460 w 4159250"/>
              <a:gd name="connsiteY3" fmla="*/ 5194314 h 5194314"/>
              <a:gd name="connsiteX4" fmla="*/ 0 w 4159250"/>
              <a:gd name="connsiteY4" fmla="*/ 5194314 h 5194314"/>
              <a:gd name="connsiteX0" fmla="*/ 0 w 4159250"/>
              <a:gd name="connsiteY0" fmla="*/ 5194314 h 5200664"/>
              <a:gd name="connsiteX1" fmla="*/ 1984540 w 4159250"/>
              <a:gd name="connsiteY1" fmla="*/ 0 h 5200664"/>
              <a:gd name="connsiteX2" fmla="*/ 4159250 w 4159250"/>
              <a:gd name="connsiteY2" fmla="*/ 0 h 5200664"/>
              <a:gd name="connsiteX3" fmla="*/ 4130510 w 4159250"/>
              <a:gd name="connsiteY3" fmla="*/ 5200664 h 5200664"/>
              <a:gd name="connsiteX4" fmla="*/ 0 w 4159250"/>
              <a:gd name="connsiteY4" fmla="*/ 5194314 h 5200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9250" h="5200664">
                <a:moveTo>
                  <a:pt x="0" y="5194314"/>
                </a:moveTo>
                <a:lnTo>
                  <a:pt x="1984540" y="0"/>
                </a:lnTo>
                <a:lnTo>
                  <a:pt x="4159250" y="0"/>
                </a:lnTo>
                <a:lnTo>
                  <a:pt x="4130510" y="5200664"/>
                </a:lnTo>
                <a:lnTo>
                  <a:pt x="0" y="5194314"/>
                </a:lnTo>
                <a:close/>
              </a:path>
            </a:pathLst>
          </a:custGeom>
          <a:solidFill>
            <a:schemeClr val="bg1"/>
          </a:solidFill>
        </p:spPr>
        <p:txBody>
          <a:bodyPr lIns="1368000" tIns="1944000" rIns="180000">
            <a:normAutofit/>
          </a:bodyPr>
          <a:lstStyle>
            <a:lvl1pPr>
              <a:defRPr sz="1200" baseline="0">
                <a:solidFill>
                  <a:schemeClr val="accent3"/>
                </a:solidFill>
              </a:defRPr>
            </a:lvl1pPr>
          </a:lstStyle>
          <a:p>
            <a:r>
              <a:rPr lang="en-AU" dirty="0"/>
              <a:t>To insert an image click on icon or leave blank</a:t>
            </a:r>
            <a:endParaRPr lang="en-US" dirty="0"/>
          </a:p>
        </p:txBody>
      </p:sp>
      <p:sp>
        <p:nvSpPr>
          <p:cNvPr id="10" name="Title 9"/>
          <p:cNvSpPr>
            <a:spLocks noGrp="1"/>
          </p:cNvSpPr>
          <p:nvPr>
            <p:ph type="title"/>
          </p:nvPr>
        </p:nvSpPr>
        <p:spPr>
          <a:xfrm>
            <a:off x="600084" y="2226733"/>
            <a:ext cx="5292723" cy="3005667"/>
          </a:xfrm>
        </p:spPr>
        <p:txBody>
          <a:bodyPr anchor="t">
            <a:noAutofit/>
          </a:bodyPr>
          <a:lstStyle>
            <a:lvl1pPr>
              <a:lnSpc>
                <a:spcPts val="3600"/>
              </a:lnSpc>
              <a:defRPr sz="3600">
                <a:solidFill>
                  <a:schemeClr val="bg1"/>
                </a:solidFill>
              </a:defRPr>
            </a:lvl1pPr>
          </a:lstStyle>
          <a:p>
            <a:r>
              <a:rPr lang="en-US" dirty="0"/>
              <a:t>Click to edit Master title style</a:t>
            </a:r>
          </a:p>
        </p:txBody>
      </p:sp>
      <p:sp>
        <p:nvSpPr>
          <p:cNvPr id="5" name="Parallelogram 4"/>
          <p:cNvSpPr/>
          <p:nvPr userDrawn="1"/>
        </p:nvSpPr>
        <p:spPr>
          <a:xfrm>
            <a:off x="593726" y="1364894"/>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Tree>
    <p:extLst>
      <p:ext uri="{BB962C8B-B14F-4D97-AF65-F5344CB8AC3E}">
        <p14:creationId xmlns:p14="http://schemas.microsoft.com/office/powerpoint/2010/main" val="4258813774"/>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4. Divider with image">
    <p:spTree>
      <p:nvGrpSpPr>
        <p:cNvPr id="1" name=""/>
        <p:cNvGrpSpPr/>
        <p:nvPr/>
      </p:nvGrpSpPr>
      <p:grpSpPr>
        <a:xfrm>
          <a:off x="0" y="0"/>
          <a:ext cx="0" cy="0"/>
          <a:chOff x="0" y="0"/>
          <a:chExt cx="0" cy="0"/>
        </a:xfrm>
      </p:grpSpPr>
      <p:sp>
        <p:nvSpPr>
          <p:cNvPr id="9" name="Picture Placeholder 8"/>
          <p:cNvSpPr>
            <a:spLocks noGrp="1"/>
          </p:cNvSpPr>
          <p:nvPr>
            <p:ph type="pic" sz="quarter" idx="10" hasCustomPrompt="1"/>
          </p:nvPr>
        </p:nvSpPr>
        <p:spPr>
          <a:xfrm>
            <a:off x="5041032" y="-34440"/>
            <a:ext cx="4159250" cy="6934219"/>
          </a:xfrm>
          <a:custGeom>
            <a:avLst/>
            <a:gdLst>
              <a:gd name="connsiteX0" fmla="*/ 0 w 5842000"/>
              <a:gd name="connsiteY0" fmla="*/ 5194314 h 5194314"/>
              <a:gd name="connsiteX1" fmla="*/ 1984540 w 5842000"/>
              <a:gd name="connsiteY1" fmla="*/ 0 h 5194314"/>
              <a:gd name="connsiteX2" fmla="*/ 5842000 w 5842000"/>
              <a:gd name="connsiteY2" fmla="*/ 0 h 5194314"/>
              <a:gd name="connsiteX3" fmla="*/ 3857460 w 5842000"/>
              <a:gd name="connsiteY3" fmla="*/ 5194314 h 5194314"/>
              <a:gd name="connsiteX4" fmla="*/ 0 w 5842000"/>
              <a:gd name="connsiteY4" fmla="*/ 5194314 h 5194314"/>
              <a:gd name="connsiteX0" fmla="*/ 0 w 4159250"/>
              <a:gd name="connsiteY0" fmla="*/ 5194314 h 5194314"/>
              <a:gd name="connsiteX1" fmla="*/ 1984540 w 4159250"/>
              <a:gd name="connsiteY1" fmla="*/ 0 h 5194314"/>
              <a:gd name="connsiteX2" fmla="*/ 4159250 w 4159250"/>
              <a:gd name="connsiteY2" fmla="*/ 0 h 5194314"/>
              <a:gd name="connsiteX3" fmla="*/ 3857460 w 4159250"/>
              <a:gd name="connsiteY3" fmla="*/ 5194314 h 5194314"/>
              <a:gd name="connsiteX4" fmla="*/ 0 w 4159250"/>
              <a:gd name="connsiteY4" fmla="*/ 5194314 h 5194314"/>
              <a:gd name="connsiteX0" fmla="*/ 0 w 4159250"/>
              <a:gd name="connsiteY0" fmla="*/ 5194314 h 5200664"/>
              <a:gd name="connsiteX1" fmla="*/ 1984540 w 4159250"/>
              <a:gd name="connsiteY1" fmla="*/ 0 h 5200664"/>
              <a:gd name="connsiteX2" fmla="*/ 4159250 w 4159250"/>
              <a:gd name="connsiteY2" fmla="*/ 0 h 5200664"/>
              <a:gd name="connsiteX3" fmla="*/ 4130510 w 4159250"/>
              <a:gd name="connsiteY3" fmla="*/ 5200664 h 5200664"/>
              <a:gd name="connsiteX4" fmla="*/ 0 w 4159250"/>
              <a:gd name="connsiteY4" fmla="*/ 5194314 h 5200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9250" h="5200664">
                <a:moveTo>
                  <a:pt x="0" y="5194314"/>
                </a:moveTo>
                <a:lnTo>
                  <a:pt x="1984540" y="0"/>
                </a:lnTo>
                <a:lnTo>
                  <a:pt x="4159250" y="0"/>
                </a:lnTo>
                <a:lnTo>
                  <a:pt x="4130510" y="5200664"/>
                </a:lnTo>
                <a:lnTo>
                  <a:pt x="0" y="5194314"/>
                </a:lnTo>
                <a:close/>
              </a:path>
            </a:pathLst>
          </a:custGeom>
          <a:solidFill>
            <a:schemeClr val="bg1"/>
          </a:solidFill>
        </p:spPr>
        <p:txBody>
          <a:bodyPr lIns="1368000" tIns="1944000" rIns="180000">
            <a:normAutofit/>
          </a:bodyPr>
          <a:lstStyle>
            <a:lvl1pPr>
              <a:defRPr sz="1200" baseline="0">
                <a:solidFill>
                  <a:schemeClr val="accent3"/>
                </a:solidFill>
              </a:defRPr>
            </a:lvl1pPr>
          </a:lstStyle>
          <a:p>
            <a:r>
              <a:rPr lang="en-AU" dirty="0"/>
              <a:t>To insert an image click on icon or leave blank</a:t>
            </a:r>
            <a:endParaRPr lang="en-US" dirty="0"/>
          </a:p>
        </p:txBody>
      </p:sp>
      <p:sp>
        <p:nvSpPr>
          <p:cNvPr id="10" name="Title 9"/>
          <p:cNvSpPr>
            <a:spLocks noGrp="1"/>
          </p:cNvSpPr>
          <p:nvPr>
            <p:ph type="title"/>
          </p:nvPr>
        </p:nvSpPr>
        <p:spPr>
          <a:xfrm>
            <a:off x="600084" y="2226733"/>
            <a:ext cx="5292723" cy="3005667"/>
          </a:xfrm>
        </p:spPr>
        <p:txBody>
          <a:bodyPr anchor="t">
            <a:noAutofit/>
          </a:bodyPr>
          <a:lstStyle>
            <a:lvl1pPr>
              <a:lnSpc>
                <a:spcPts val="3600"/>
              </a:lnSpc>
              <a:defRPr sz="3600">
                <a:solidFill>
                  <a:schemeClr val="bg1"/>
                </a:solidFill>
              </a:defRPr>
            </a:lvl1pPr>
          </a:lstStyle>
          <a:p>
            <a:r>
              <a:rPr lang="en-US" dirty="0"/>
              <a:t>Click to edit Master title style</a:t>
            </a:r>
          </a:p>
        </p:txBody>
      </p:sp>
      <p:sp>
        <p:nvSpPr>
          <p:cNvPr id="5" name="Parallelogram 4"/>
          <p:cNvSpPr/>
          <p:nvPr userDrawn="1"/>
        </p:nvSpPr>
        <p:spPr>
          <a:xfrm>
            <a:off x="593726" y="1364894"/>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Tree>
    <p:extLst>
      <p:ext uri="{BB962C8B-B14F-4D97-AF65-F5344CB8AC3E}">
        <p14:creationId xmlns:p14="http://schemas.microsoft.com/office/powerpoint/2010/main" val="1842020331"/>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5. Divider with image">
    <p:spTree>
      <p:nvGrpSpPr>
        <p:cNvPr id="1" name=""/>
        <p:cNvGrpSpPr/>
        <p:nvPr/>
      </p:nvGrpSpPr>
      <p:grpSpPr>
        <a:xfrm>
          <a:off x="0" y="0"/>
          <a:ext cx="0" cy="0"/>
          <a:chOff x="0" y="0"/>
          <a:chExt cx="0" cy="0"/>
        </a:xfrm>
      </p:grpSpPr>
      <p:sp>
        <p:nvSpPr>
          <p:cNvPr id="9" name="Picture Placeholder 8"/>
          <p:cNvSpPr>
            <a:spLocks noGrp="1"/>
          </p:cNvSpPr>
          <p:nvPr>
            <p:ph type="pic" sz="quarter" idx="10" hasCustomPrompt="1"/>
          </p:nvPr>
        </p:nvSpPr>
        <p:spPr>
          <a:xfrm>
            <a:off x="5041032" y="-34440"/>
            <a:ext cx="4159250" cy="6934219"/>
          </a:xfrm>
          <a:custGeom>
            <a:avLst/>
            <a:gdLst>
              <a:gd name="connsiteX0" fmla="*/ 0 w 5842000"/>
              <a:gd name="connsiteY0" fmla="*/ 5194314 h 5194314"/>
              <a:gd name="connsiteX1" fmla="*/ 1984540 w 5842000"/>
              <a:gd name="connsiteY1" fmla="*/ 0 h 5194314"/>
              <a:gd name="connsiteX2" fmla="*/ 5842000 w 5842000"/>
              <a:gd name="connsiteY2" fmla="*/ 0 h 5194314"/>
              <a:gd name="connsiteX3" fmla="*/ 3857460 w 5842000"/>
              <a:gd name="connsiteY3" fmla="*/ 5194314 h 5194314"/>
              <a:gd name="connsiteX4" fmla="*/ 0 w 5842000"/>
              <a:gd name="connsiteY4" fmla="*/ 5194314 h 5194314"/>
              <a:gd name="connsiteX0" fmla="*/ 0 w 4159250"/>
              <a:gd name="connsiteY0" fmla="*/ 5194314 h 5194314"/>
              <a:gd name="connsiteX1" fmla="*/ 1984540 w 4159250"/>
              <a:gd name="connsiteY1" fmla="*/ 0 h 5194314"/>
              <a:gd name="connsiteX2" fmla="*/ 4159250 w 4159250"/>
              <a:gd name="connsiteY2" fmla="*/ 0 h 5194314"/>
              <a:gd name="connsiteX3" fmla="*/ 3857460 w 4159250"/>
              <a:gd name="connsiteY3" fmla="*/ 5194314 h 5194314"/>
              <a:gd name="connsiteX4" fmla="*/ 0 w 4159250"/>
              <a:gd name="connsiteY4" fmla="*/ 5194314 h 5194314"/>
              <a:gd name="connsiteX0" fmla="*/ 0 w 4159250"/>
              <a:gd name="connsiteY0" fmla="*/ 5194314 h 5200664"/>
              <a:gd name="connsiteX1" fmla="*/ 1984540 w 4159250"/>
              <a:gd name="connsiteY1" fmla="*/ 0 h 5200664"/>
              <a:gd name="connsiteX2" fmla="*/ 4159250 w 4159250"/>
              <a:gd name="connsiteY2" fmla="*/ 0 h 5200664"/>
              <a:gd name="connsiteX3" fmla="*/ 4130510 w 4159250"/>
              <a:gd name="connsiteY3" fmla="*/ 5200664 h 5200664"/>
              <a:gd name="connsiteX4" fmla="*/ 0 w 4159250"/>
              <a:gd name="connsiteY4" fmla="*/ 5194314 h 5200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9250" h="5200664">
                <a:moveTo>
                  <a:pt x="0" y="5194314"/>
                </a:moveTo>
                <a:lnTo>
                  <a:pt x="1984540" y="0"/>
                </a:lnTo>
                <a:lnTo>
                  <a:pt x="4159250" y="0"/>
                </a:lnTo>
                <a:lnTo>
                  <a:pt x="4130510" y="5200664"/>
                </a:lnTo>
                <a:lnTo>
                  <a:pt x="0" y="5194314"/>
                </a:lnTo>
                <a:close/>
              </a:path>
            </a:pathLst>
          </a:custGeom>
          <a:solidFill>
            <a:schemeClr val="bg1"/>
          </a:solidFill>
        </p:spPr>
        <p:txBody>
          <a:bodyPr lIns="1368000" tIns="1944000" rIns="180000">
            <a:normAutofit/>
          </a:bodyPr>
          <a:lstStyle>
            <a:lvl1pPr>
              <a:defRPr sz="1200" baseline="0">
                <a:solidFill>
                  <a:schemeClr val="accent3"/>
                </a:solidFill>
              </a:defRPr>
            </a:lvl1pPr>
          </a:lstStyle>
          <a:p>
            <a:r>
              <a:rPr lang="en-AU" dirty="0"/>
              <a:t>To insert an image click on icon or leave blank</a:t>
            </a:r>
            <a:endParaRPr lang="en-US" dirty="0"/>
          </a:p>
        </p:txBody>
      </p:sp>
      <p:sp>
        <p:nvSpPr>
          <p:cNvPr id="5" name="Parallelogram 4"/>
          <p:cNvSpPr/>
          <p:nvPr userDrawn="1"/>
        </p:nvSpPr>
        <p:spPr>
          <a:xfrm>
            <a:off x="593726" y="1364894"/>
            <a:ext cx="720000" cy="60959"/>
          </a:xfrm>
          <a:prstGeom prst="parallelogram">
            <a:avLst>
              <a:gd name="adj" fmla="val 3799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Content Placeholder 3"/>
          <p:cNvSpPr>
            <a:spLocks noGrp="1"/>
          </p:cNvSpPr>
          <p:nvPr>
            <p:ph sz="quarter" idx="11"/>
          </p:nvPr>
        </p:nvSpPr>
        <p:spPr>
          <a:xfrm>
            <a:off x="593725" y="1717041"/>
            <a:ext cx="4495800" cy="4958927"/>
          </a:xfrm>
          <a:prstGeom prst="rect">
            <a:avLst/>
          </a:prstGeom>
        </p:spPr>
        <p:txBody>
          <a:bodyPr lIns="0" tIns="0" rIns="0" bIns="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1778963"/>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5. Divider with image">
    <p:spTree>
      <p:nvGrpSpPr>
        <p:cNvPr id="1" name=""/>
        <p:cNvGrpSpPr/>
        <p:nvPr/>
      </p:nvGrpSpPr>
      <p:grpSpPr>
        <a:xfrm>
          <a:off x="0" y="0"/>
          <a:ext cx="0" cy="0"/>
          <a:chOff x="0" y="0"/>
          <a:chExt cx="0" cy="0"/>
        </a:xfrm>
      </p:grpSpPr>
      <p:sp>
        <p:nvSpPr>
          <p:cNvPr id="9" name="Picture Placeholder 8"/>
          <p:cNvSpPr>
            <a:spLocks noGrp="1"/>
          </p:cNvSpPr>
          <p:nvPr>
            <p:ph type="pic" sz="quarter" idx="10" hasCustomPrompt="1"/>
          </p:nvPr>
        </p:nvSpPr>
        <p:spPr>
          <a:xfrm>
            <a:off x="3753252" y="-34440"/>
            <a:ext cx="5447030" cy="6934219"/>
          </a:xfrm>
          <a:custGeom>
            <a:avLst/>
            <a:gdLst>
              <a:gd name="connsiteX0" fmla="*/ 0 w 5842000"/>
              <a:gd name="connsiteY0" fmla="*/ 5194314 h 5194314"/>
              <a:gd name="connsiteX1" fmla="*/ 1984540 w 5842000"/>
              <a:gd name="connsiteY1" fmla="*/ 0 h 5194314"/>
              <a:gd name="connsiteX2" fmla="*/ 5842000 w 5842000"/>
              <a:gd name="connsiteY2" fmla="*/ 0 h 5194314"/>
              <a:gd name="connsiteX3" fmla="*/ 3857460 w 5842000"/>
              <a:gd name="connsiteY3" fmla="*/ 5194314 h 5194314"/>
              <a:gd name="connsiteX4" fmla="*/ 0 w 5842000"/>
              <a:gd name="connsiteY4" fmla="*/ 5194314 h 5194314"/>
              <a:gd name="connsiteX0" fmla="*/ 0 w 4159250"/>
              <a:gd name="connsiteY0" fmla="*/ 5194314 h 5194314"/>
              <a:gd name="connsiteX1" fmla="*/ 1984540 w 4159250"/>
              <a:gd name="connsiteY1" fmla="*/ 0 h 5194314"/>
              <a:gd name="connsiteX2" fmla="*/ 4159250 w 4159250"/>
              <a:gd name="connsiteY2" fmla="*/ 0 h 5194314"/>
              <a:gd name="connsiteX3" fmla="*/ 3857460 w 4159250"/>
              <a:gd name="connsiteY3" fmla="*/ 5194314 h 5194314"/>
              <a:gd name="connsiteX4" fmla="*/ 0 w 4159250"/>
              <a:gd name="connsiteY4" fmla="*/ 5194314 h 5194314"/>
              <a:gd name="connsiteX0" fmla="*/ 0 w 4159250"/>
              <a:gd name="connsiteY0" fmla="*/ 5194314 h 5200664"/>
              <a:gd name="connsiteX1" fmla="*/ 1984540 w 4159250"/>
              <a:gd name="connsiteY1" fmla="*/ 0 h 5200664"/>
              <a:gd name="connsiteX2" fmla="*/ 4159250 w 4159250"/>
              <a:gd name="connsiteY2" fmla="*/ 0 h 5200664"/>
              <a:gd name="connsiteX3" fmla="*/ 4130510 w 4159250"/>
              <a:gd name="connsiteY3" fmla="*/ 5200664 h 5200664"/>
              <a:gd name="connsiteX4" fmla="*/ 0 w 4159250"/>
              <a:gd name="connsiteY4" fmla="*/ 5194314 h 5200664"/>
              <a:gd name="connsiteX0" fmla="*/ 0 w 5447030"/>
              <a:gd name="connsiteY0" fmla="*/ 5194314 h 5200664"/>
              <a:gd name="connsiteX1" fmla="*/ 1984540 w 5447030"/>
              <a:gd name="connsiteY1" fmla="*/ 0 h 5200664"/>
              <a:gd name="connsiteX2" fmla="*/ 5447030 w 5447030"/>
              <a:gd name="connsiteY2" fmla="*/ 0 h 5200664"/>
              <a:gd name="connsiteX3" fmla="*/ 4130510 w 5447030"/>
              <a:gd name="connsiteY3" fmla="*/ 5200664 h 5200664"/>
              <a:gd name="connsiteX4" fmla="*/ 0 w 5447030"/>
              <a:gd name="connsiteY4" fmla="*/ 5194314 h 5200664"/>
              <a:gd name="connsiteX0" fmla="*/ 0 w 5447030"/>
              <a:gd name="connsiteY0" fmla="*/ 5194314 h 5200664"/>
              <a:gd name="connsiteX1" fmla="*/ 1984540 w 5447030"/>
              <a:gd name="connsiteY1" fmla="*/ 0 h 5200664"/>
              <a:gd name="connsiteX2" fmla="*/ 5447030 w 5447030"/>
              <a:gd name="connsiteY2" fmla="*/ 0 h 5200664"/>
              <a:gd name="connsiteX3" fmla="*/ 5425910 w 5447030"/>
              <a:gd name="connsiteY3" fmla="*/ 5200664 h 5200664"/>
              <a:gd name="connsiteX4" fmla="*/ 0 w 5447030"/>
              <a:gd name="connsiteY4" fmla="*/ 5194314 h 5200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7030" h="5200664">
                <a:moveTo>
                  <a:pt x="0" y="5194314"/>
                </a:moveTo>
                <a:lnTo>
                  <a:pt x="1984540" y="0"/>
                </a:lnTo>
                <a:lnTo>
                  <a:pt x="5447030" y="0"/>
                </a:lnTo>
                <a:lnTo>
                  <a:pt x="5425910" y="5200664"/>
                </a:lnTo>
                <a:lnTo>
                  <a:pt x="0" y="5194314"/>
                </a:lnTo>
                <a:close/>
              </a:path>
            </a:pathLst>
          </a:custGeom>
          <a:solidFill>
            <a:schemeClr val="bg1"/>
          </a:solidFill>
        </p:spPr>
        <p:txBody>
          <a:bodyPr lIns="1368000" tIns="1944000" rIns="180000">
            <a:normAutofit/>
          </a:bodyPr>
          <a:lstStyle>
            <a:lvl1pPr>
              <a:defRPr sz="1200" baseline="0">
                <a:solidFill>
                  <a:schemeClr val="accent3"/>
                </a:solidFill>
              </a:defRPr>
            </a:lvl1pPr>
          </a:lstStyle>
          <a:p>
            <a:r>
              <a:rPr lang="en-AU" dirty="0"/>
              <a:t>To insert an image click on icon or leave blank</a:t>
            </a:r>
            <a:endParaRPr lang="en-US" dirty="0"/>
          </a:p>
        </p:txBody>
      </p:sp>
      <p:sp>
        <p:nvSpPr>
          <p:cNvPr id="5" name="Parallelogram 4"/>
          <p:cNvSpPr/>
          <p:nvPr userDrawn="1"/>
        </p:nvSpPr>
        <p:spPr>
          <a:xfrm>
            <a:off x="593726" y="1974494"/>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2" name="Title 1"/>
          <p:cNvSpPr>
            <a:spLocks noGrp="1"/>
          </p:cNvSpPr>
          <p:nvPr>
            <p:ph type="title"/>
          </p:nvPr>
        </p:nvSpPr>
        <p:spPr>
          <a:xfrm>
            <a:off x="600078" y="398977"/>
            <a:ext cx="4482463" cy="1419663"/>
          </a:xfrm>
        </p:spPr>
        <p:txBody>
          <a:bodyPr/>
          <a:lstStyle>
            <a:lvl1pPr>
              <a:defRPr>
                <a:solidFill>
                  <a:schemeClr val="bg1"/>
                </a:solidFill>
              </a:defRPr>
            </a:lvl1pPr>
          </a:lstStyle>
          <a:p>
            <a:r>
              <a:rPr lang="en-US" dirty="0"/>
              <a:t>Click to edit Master title style</a:t>
            </a:r>
          </a:p>
        </p:txBody>
      </p:sp>
      <p:sp>
        <p:nvSpPr>
          <p:cNvPr id="4" name="Content Placeholder 3"/>
          <p:cNvSpPr>
            <a:spLocks noGrp="1"/>
          </p:cNvSpPr>
          <p:nvPr>
            <p:ph sz="quarter" idx="11"/>
          </p:nvPr>
        </p:nvSpPr>
        <p:spPr>
          <a:xfrm>
            <a:off x="593726" y="4378961"/>
            <a:ext cx="3193415" cy="2297007"/>
          </a:xfrm>
          <a:prstGeom prst="rect">
            <a:avLst/>
          </a:prstGeom>
        </p:spPr>
        <p:txBody>
          <a:bodyPr lIns="0" tIns="0" rIns="0" bIns="0"/>
          <a:lstStyle>
            <a:lvl1pPr>
              <a:buClr>
                <a:schemeClr val="bg1"/>
              </a:buClr>
              <a:defRPr sz="1000">
                <a:solidFill>
                  <a:schemeClr val="bg1"/>
                </a:solidFill>
              </a:defRPr>
            </a:lvl1pPr>
            <a:lvl2pPr>
              <a:buClr>
                <a:schemeClr val="bg1"/>
              </a:buClr>
              <a:defRPr sz="1000">
                <a:solidFill>
                  <a:schemeClr val="bg1"/>
                </a:solidFill>
              </a:defRPr>
            </a:lvl2pPr>
            <a:lvl3pPr>
              <a:buClr>
                <a:schemeClr val="bg1"/>
              </a:buClr>
              <a:defRPr sz="1000">
                <a:solidFill>
                  <a:schemeClr val="bg1"/>
                </a:solidFill>
              </a:defRPr>
            </a:lvl3pPr>
            <a:lvl4pPr>
              <a:buClr>
                <a:schemeClr val="bg1"/>
              </a:buClr>
              <a:defRPr sz="1000">
                <a:solidFill>
                  <a:schemeClr val="bg1"/>
                </a:solidFill>
              </a:defRPr>
            </a:lvl4pPr>
            <a:lvl5pPr>
              <a:buClr>
                <a:schemeClr val="bg1"/>
              </a:buClr>
              <a:defRPr sz="10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81467559"/>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 Divider no image">
    <p:spTree>
      <p:nvGrpSpPr>
        <p:cNvPr id="1" name=""/>
        <p:cNvGrpSpPr/>
        <p:nvPr/>
      </p:nvGrpSpPr>
      <p:grpSpPr>
        <a:xfrm>
          <a:off x="0" y="0"/>
          <a:ext cx="0" cy="0"/>
          <a:chOff x="0" y="0"/>
          <a:chExt cx="0" cy="0"/>
        </a:xfrm>
      </p:grpSpPr>
      <p:sp>
        <p:nvSpPr>
          <p:cNvPr id="10" name="Title 9"/>
          <p:cNvSpPr>
            <a:spLocks noGrp="1"/>
          </p:cNvSpPr>
          <p:nvPr>
            <p:ph type="title"/>
          </p:nvPr>
        </p:nvSpPr>
        <p:spPr>
          <a:xfrm>
            <a:off x="600084" y="2226733"/>
            <a:ext cx="7896221" cy="3005667"/>
          </a:xfrm>
        </p:spPr>
        <p:txBody>
          <a:bodyPr anchor="t">
            <a:noAutofit/>
          </a:bodyPr>
          <a:lstStyle>
            <a:lvl1pPr>
              <a:lnSpc>
                <a:spcPts val="3600"/>
              </a:lnSpc>
              <a:defRPr sz="3600">
                <a:solidFill>
                  <a:schemeClr val="bg1"/>
                </a:solidFill>
              </a:defRPr>
            </a:lvl1pPr>
          </a:lstStyle>
          <a:p>
            <a:r>
              <a:rPr lang="en-US" dirty="0"/>
              <a:t>Click to edit Master title style</a:t>
            </a:r>
          </a:p>
        </p:txBody>
      </p:sp>
      <p:sp>
        <p:nvSpPr>
          <p:cNvPr id="5" name="Parallelogram 4"/>
          <p:cNvSpPr/>
          <p:nvPr userDrawn="1"/>
        </p:nvSpPr>
        <p:spPr>
          <a:xfrm>
            <a:off x="593726" y="1364894"/>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Tree>
    <p:extLst>
      <p:ext uri="{BB962C8B-B14F-4D97-AF65-F5344CB8AC3E}">
        <p14:creationId xmlns:p14="http://schemas.microsoft.com/office/powerpoint/2010/main" val="3658165489"/>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2 Divider no image">
    <p:spTree>
      <p:nvGrpSpPr>
        <p:cNvPr id="1" name=""/>
        <p:cNvGrpSpPr/>
        <p:nvPr/>
      </p:nvGrpSpPr>
      <p:grpSpPr>
        <a:xfrm>
          <a:off x="0" y="0"/>
          <a:ext cx="0" cy="0"/>
          <a:chOff x="0" y="0"/>
          <a:chExt cx="0" cy="0"/>
        </a:xfrm>
      </p:grpSpPr>
      <p:sp>
        <p:nvSpPr>
          <p:cNvPr id="10" name="Title 9"/>
          <p:cNvSpPr>
            <a:spLocks noGrp="1"/>
          </p:cNvSpPr>
          <p:nvPr>
            <p:ph type="title"/>
          </p:nvPr>
        </p:nvSpPr>
        <p:spPr>
          <a:xfrm>
            <a:off x="600084" y="2226733"/>
            <a:ext cx="7896221" cy="3005667"/>
          </a:xfrm>
        </p:spPr>
        <p:txBody>
          <a:bodyPr anchor="t">
            <a:noAutofit/>
          </a:bodyPr>
          <a:lstStyle>
            <a:lvl1pPr>
              <a:lnSpc>
                <a:spcPts val="3600"/>
              </a:lnSpc>
              <a:defRPr sz="3600">
                <a:solidFill>
                  <a:schemeClr val="bg1"/>
                </a:solidFill>
              </a:defRPr>
            </a:lvl1pPr>
          </a:lstStyle>
          <a:p>
            <a:r>
              <a:rPr lang="en-US" dirty="0"/>
              <a:t>Click to edit Master title style</a:t>
            </a:r>
          </a:p>
        </p:txBody>
      </p:sp>
      <p:sp>
        <p:nvSpPr>
          <p:cNvPr id="5" name="Parallelogram 4"/>
          <p:cNvSpPr/>
          <p:nvPr userDrawn="1"/>
        </p:nvSpPr>
        <p:spPr>
          <a:xfrm>
            <a:off x="593726" y="1364894"/>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Tree>
    <p:extLst>
      <p:ext uri="{BB962C8B-B14F-4D97-AF65-F5344CB8AC3E}">
        <p14:creationId xmlns:p14="http://schemas.microsoft.com/office/powerpoint/2010/main" val="4044978398"/>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ver 3 - white">
    <p:bg>
      <p:bgPr>
        <a:solidFill>
          <a:schemeClr val="bg1"/>
        </a:solidFill>
        <a:effectLst/>
      </p:bgPr>
    </p:bg>
    <p:spTree>
      <p:nvGrpSpPr>
        <p:cNvPr id="1" name=""/>
        <p:cNvGrpSpPr/>
        <p:nvPr/>
      </p:nvGrpSpPr>
      <p:grpSpPr>
        <a:xfrm>
          <a:off x="0" y="0"/>
          <a:ext cx="0" cy="0"/>
          <a:chOff x="0" y="0"/>
          <a:chExt cx="0" cy="0"/>
        </a:xfrm>
      </p:grpSpPr>
      <p:sp>
        <p:nvSpPr>
          <p:cNvPr id="28" name="Text Placeholder 26"/>
          <p:cNvSpPr>
            <a:spLocks noGrp="1"/>
          </p:cNvSpPr>
          <p:nvPr>
            <p:ph type="body" sz="quarter" idx="11"/>
          </p:nvPr>
        </p:nvSpPr>
        <p:spPr>
          <a:xfrm>
            <a:off x="3483251" y="4240468"/>
            <a:ext cx="5064076" cy="677333"/>
          </a:xfrm>
          <a:prstGeom prst="rect">
            <a:avLst/>
          </a:prstGeom>
        </p:spPr>
        <p:txBody>
          <a:bodyPr lIns="0" tIns="0" rIns="0" bIns="0">
            <a:noAutofit/>
          </a:bodyPr>
          <a:lstStyle>
            <a:lvl1pPr>
              <a:spcBef>
                <a:spcPts val="0"/>
              </a:spcBef>
              <a:spcAft>
                <a:spcPts val="0"/>
              </a:spcAft>
              <a:defRPr sz="1000">
                <a:solidFill>
                  <a:schemeClr val="tx1"/>
                </a:solidFill>
              </a:defRPr>
            </a:lvl1pPr>
          </a:lstStyle>
          <a:p>
            <a:pPr lvl="0"/>
            <a:r>
              <a:rPr lang="en-US" dirty="0"/>
              <a:t>Click to edit Master text styles</a:t>
            </a:r>
          </a:p>
        </p:txBody>
      </p:sp>
      <p:sp>
        <p:nvSpPr>
          <p:cNvPr id="29" name="Title 28"/>
          <p:cNvSpPr>
            <a:spLocks noGrp="1"/>
          </p:cNvSpPr>
          <p:nvPr>
            <p:ph type="title"/>
          </p:nvPr>
        </p:nvSpPr>
        <p:spPr>
          <a:xfrm>
            <a:off x="3494363" y="1610919"/>
            <a:ext cx="5051150" cy="1711401"/>
          </a:xfrm>
        </p:spPr>
        <p:txBody>
          <a:bodyPr>
            <a:noAutofit/>
          </a:bodyPr>
          <a:lstStyle>
            <a:lvl1pPr>
              <a:lnSpc>
                <a:spcPts val="2800"/>
              </a:lnSpc>
              <a:defRPr sz="2800">
                <a:solidFill>
                  <a:schemeClr val="tx1"/>
                </a:solidFill>
              </a:defRPr>
            </a:lvl1pPr>
          </a:lstStyle>
          <a:p>
            <a:r>
              <a:rPr lang="en-US" dirty="0"/>
              <a:t>Click to edit Master title style</a:t>
            </a:r>
          </a:p>
        </p:txBody>
      </p:sp>
      <p:sp>
        <p:nvSpPr>
          <p:cNvPr id="33" name="Text Placeholder 32"/>
          <p:cNvSpPr>
            <a:spLocks noGrp="1"/>
          </p:cNvSpPr>
          <p:nvPr>
            <p:ph type="body" sz="quarter" idx="12"/>
          </p:nvPr>
        </p:nvSpPr>
        <p:spPr>
          <a:xfrm>
            <a:off x="3494362" y="3546203"/>
            <a:ext cx="5033427" cy="601133"/>
          </a:xfrm>
          <a:prstGeom prst="rect">
            <a:avLst/>
          </a:prstGeom>
        </p:spPr>
        <p:txBody>
          <a:bodyPr lIns="0" tIns="0" rIns="0" bIns="0">
            <a:noAutofit/>
          </a:bodyPr>
          <a:lstStyle>
            <a:lvl1pPr>
              <a:defRPr>
                <a:solidFill>
                  <a:schemeClr val="tx1"/>
                </a:solidFill>
              </a:defRPr>
            </a:lvl1pPr>
          </a:lstStyle>
          <a:p>
            <a:pPr lvl="0"/>
            <a:r>
              <a:rPr lang="en-US" dirty="0"/>
              <a:t>Click to edit Master text styles</a:t>
            </a:r>
          </a:p>
        </p:txBody>
      </p:sp>
      <p:sp>
        <p:nvSpPr>
          <p:cNvPr id="10" name="Date Placeholder 3"/>
          <p:cNvSpPr txBox="1">
            <a:spLocks/>
          </p:cNvSpPr>
          <p:nvPr userDrawn="1"/>
        </p:nvSpPr>
        <p:spPr>
          <a:xfrm>
            <a:off x="3514309" y="6248944"/>
            <a:ext cx="1269504" cy="216024"/>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900" dirty="0">
                <a:solidFill>
                  <a:schemeClr val="tx1"/>
                </a:solidFill>
                <a:latin typeface="Segoe UI" panose="020B0502040204020203" pitchFamily="34" charset="0"/>
                <a:ea typeface="Segoe UI" panose="020B0502040204020203" pitchFamily="34" charset="0"/>
                <a:cs typeface="Segoe UI" panose="020B0502040204020203" pitchFamily="34" charset="0"/>
              </a:rPr>
              <a:t>www.</a:t>
            </a:r>
            <a:r>
              <a:rPr lang="en-AU" sz="900" b="1" dirty="0">
                <a:solidFill>
                  <a:schemeClr val="tx1"/>
                </a:solidFill>
                <a:latin typeface="Segoe UI" panose="020B0502040204020203" pitchFamily="34" charset="0"/>
                <a:ea typeface="Segoe UI" panose="020B0502040204020203" pitchFamily="34" charset="0"/>
                <a:cs typeface="Segoe UI" panose="020B0502040204020203" pitchFamily="34" charset="0"/>
              </a:rPr>
              <a:t>advisian</a:t>
            </a:r>
            <a:r>
              <a:rPr lang="en-AU" sz="900" dirty="0">
                <a:solidFill>
                  <a:schemeClr val="tx1"/>
                </a:solidFill>
                <a:latin typeface="Segoe UI" panose="020B0502040204020203" pitchFamily="34" charset="0"/>
                <a:ea typeface="Segoe UI" panose="020B0502040204020203" pitchFamily="34" charset="0"/>
                <a:cs typeface="Segoe UI" panose="020B0502040204020203" pitchFamily="34" charset="0"/>
              </a:rPr>
              <a:t>.com</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365" y="5346848"/>
            <a:ext cx="1227613" cy="423269"/>
          </a:xfrm>
          <a:prstGeom prst="rect">
            <a:avLst/>
          </a:prstGeom>
          <a:noFill/>
          <a:ln>
            <a:noFill/>
          </a:ln>
        </p:spPr>
      </p:pic>
      <p:sp>
        <p:nvSpPr>
          <p:cNvPr id="5" name="Picture Placeholder 4"/>
          <p:cNvSpPr>
            <a:spLocks noGrp="1"/>
          </p:cNvSpPr>
          <p:nvPr>
            <p:ph type="pic" sz="quarter" idx="17"/>
          </p:nvPr>
        </p:nvSpPr>
        <p:spPr>
          <a:xfrm>
            <a:off x="-99060" y="-82550"/>
            <a:ext cx="4039870" cy="7056608"/>
          </a:xfrm>
          <a:custGeom>
            <a:avLst/>
            <a:gdLst>
              <a:gd name="connsiteX0" fmla="*/ 0 w 5271134"/>
              <a:gd name="connsiteY0" fmla="*/ 0 h 7000876"/>
              <a:gd name="connsiteX1" fmla="*/ 5271134 w 5271134"/>
              <a:gd name="connsiteY1" fmla="*/ 0 h 7000876"/>
              <a:gd name="connsiteX2" fmla="*/ 5271134 w 5271134"/>
              <a:gd name="connsiteY2" fmla="*/ 7000876 h 7000876"/>
              <a:gd name="connsiteX3" fmla="*/ 0 w 5271134"/>
              <a:gd name="connsiteY3" fmla="*/ 7000876 h 7000876"/>
              <a:gd name="connsiteX4" fmla="*/ 0 w 5271134"/>
              <a:gd name="connsiteY4" fmla="*/ 0 h 7000876"/>
              <a:gd name="connsiteX0" fmla="*/ 0 w 5271134"/>
              <a:gd name="connsiteY0" fmla="*/ 0 h 7002780"/>
              <a:gd name="connsiteX1" fmla="*/ 5271134 w 5271134"/>
              <a:gd name="connsiteY1" fmla="*/ 0 h 7002780"/>
              <a:gd name="connsiteX2" fmla="*/ 5271134 w 5271134"/>
              <a:gd name="connsiteY2" fmla="*/ 7000876 h 7002780"/>
              <a:gd name="connsiteX3" fmla="*/ 2619374 w 5271134"/>
              <a:gd name="connsiteY3" fmla="*/ 7002780 h 7002780"/>
              <a:gd name="connsiteX4" fmla="*/ 0 w 5271134"/>
              <a:gd name="connsiteY4" fmla="*/ 7000876 h 7002780"/>
              <a:gd name="connsiteX5" fmla="*/ 0 w 5271134"/>
              <a:gd name="connsiteY5" fmla="*/ 0 h 7002780"/>
              <a:gd name="connsiteX0" fmla="*/ 0 w 5271134"/>
              <a:gd name="connsiteY0" fmla="*/ 0 h 7002780"/>
              <a:gd name="connsiteX1" fmla="*/ 5271134 w 5271134"/>
              <a:gd name="connsiteY1" fmla="*/ 0 h 7002780"/>
              <a:gd name="connsiteX2" fmla="*/ 2619374 w 5271134"/>
              <a:gd name="connsiteY2" fmla="*/ 7002780 h 7002780"/>
              <a:gd name="connsiteX3" fmla="*/ 0 w 5271134"/>
              <a:gd name="connsiteY3" fmla="*/ 7000876 h 7002780"/>
              <a:gd name="connsiteX4" fmla="*/ 0 w 5271134"/>
              <a:gd name="connsiteY4" fmla="*/ 0 h 7002780"/>
              <a:gd name="connsiteX0" fmla="*/ 0 w 5271134"/>
              <a:gd name="connsiteY0" fmla="*/ 5862 h 7008642"/>
              <a:gd name="connsiteX1" fmla="*/ 3985601 w 5271134"/>
              <a:gd name="connsiteY1" fmla="*/ 0 h 7008642"/>
              <a:gd name="connsiteX2" fmla="*/ 5271134 w 5271134"/>
              <a:gd name="connsiteY2" fmla="*/ 5862 h 7008642"/>
              <a:gd name="connsiteX3" fmla="*/ 2619374 w 5271134"/>
              <a:gd name="connsiteY3" fmla="*/ 7008642 h 7008642"/>
              <a:gd name="connsiteX4" fmla="*/ 0 w 5271134"/>
              <a:gd name="connsiteY4" fmla="*/ 7006738 h 7008642"/>
              <a:gd name="connsiteX5" fmla="*/ 0 w 5271134"/>
              <a:gd name="connsiteY5" fmla="*/ 5862 h 7008642"/>
              <a:gd name="connsiteX0" fmla="*/ 0 w 5271134"/>
              <a:gd name="connsiteY0" fmla="*/ 5862 h 7008642"/>
              <a:gd name="connsiteX1" fmla="*/ 3921124 w 5271134"/>
              <a:gd name="connsiteY1" fmla="*/ 0 h 7008642"/>
              <a:gd name="connsiteX2" fmla="*/ 3985601 w 5271134"/>
              <a:gd name="connsiteY2" fmla="*/ 0 h 7008642"/>
              <a:gd name="connsiteX3" fmla="*/ 5271134 w 5271134"/>
              <a:gd name="connsiteY3" fmla="*/ 5862 h 7008642"/>
              <a:gd name="connsiteX4" fmla="*/ 2619374 w 5271134"/>
              <a:gd name="connsiteY4" fmla="*/ 7008642 h 7008642"/>
              <a:gd name="connsiteX5" fmla="*/ 0 w 5271134"/>
              <a:gd name="connsiteY5" fmla="*/ 7006738 h 7008642"/>
              <a:gd name="connsiteX6" fmla="*/ 0 w 5271134"/>
              <a:gd name="connsiteY6" fmla="*/ 5862 h 7008642"/>
              <a:gd name="connsiteX0" fmla="*/ 0 w 5271134"/>
              <a:gd name="connsiteY0" fmla="*/ 5862 h 7008642"/>
              <a:gd name="connsiteX1" fmla="*/ 3885405 w 5271134"/>
              <a:gd name="connsiteY1" fmla="*/ 1099 h 7008642"/>
              <a:gd name="connsiteX2" fmla="*/ 3921124 w 5271134"/>
              <a:gd name="connsiteY2" fmla="*/ 0 h 7008642"/>
              <a:gd name="connsiteX3" fmla="*/ 3985601 w 5271134"/>
              <a:gd name="connsiteY3" fmla="*/ 0 h 7008642"/>
              <a:gd name="connsiteX4" fmla="*/ 5271134 w 5271134"/>
              <a:gd name="connsiteY4" fmla="*/ 5862 h 7008642"/>
              <a:gd name="connsiteX5" fmla="*/ 2619374 w 5271134"/>
              <a:gd name="connsiteY5" fmla="*/ 7008642 h 7008642"/>
              <a:gd name="connsiteX6" fmla="*/ 0 w 5271134"/>
              <a:gd name="connsiteY6" fmla="*/ 7006738 h 7008642"/>
              <a:gd name="connsiteX7" fmla="*/ 0 w 5271134"/>
              <a:gd name="connsiteY7" fmla="*/ 5862 h 7008642"/>
              <a:gd name="connsiteX0" fmla="*/ 0 w 5271134"/>
              <a:gd name="connsiteY0" fmla="*/ 5862 h 7056120"/>
              <a:gd name="connsiteX1" fmla="*/ 3885405 w 5271134"/>
              <a:gd name="connsiteY1" fmla="*/ 1099 h 7056120"/>
              <a:gd name="connsiteX2" fmla="*/ 1299844 w 5271134"/>
              <a:gd name="connsiteY2" fmla="*/ 7056120 h 7056120"/>
              <a:gd name="connsiteX3" fmla="*/ 3985601 w 5271134"/>
              <a:gd name="connsiteY3" fmla="*/ 0 h 7056120"/>
              <a:gd name="connsiteX4" fmla="*/ 5271134 w 5271134"/>
              <a:gd name="connsiteY4" fmla="*/ 5862 h 7056120"/>
              <a:gd name="connsiteX5" fmla="*/ 2619374 w 5271134"/>
              <a:gd name="connsiteY5" fmla="*/ 7008642 h 7056120"/>
              <a:gd name="connsiteX6" fmla="*/ 0 w 5271134"/>
              <a:gd name="connsiteY6" fmla="*/ 7006738 h 7056120"/>
              <a:gd name="connsiteX7" fmla="*/ 0 w 5271134"/>
              <a:gd name="connsiteY7" fmla="*/ 5862 h 7056120"/>
              <a:gd name="connsiteX0" fmla="*/ 0 w 5271134"/>
              <a:gd name="connsiteY0" fmla="*/ 5862 h 7056120"/>
              <a:gd name="connsiteX1" fmla="*/ 3885405 w 5271134"/>
              <a:gd name="connsiteY1" fmla="*/ 1099 h 7056120"/>
              <a:gd name="connsiteX2" fmla="*/ 3799204 w 5271134"/>
              <a:gd name="connsiteY2" fmla="*/ 234462 h 7056120"/>
              <a:gd name="connsiteX3" fmla="*/ 1299844 w 5271134"/>
              <a:gd name="connsiteY3" fmla="*/ 7056120 h 7056120"/>
              <a:gd name="connsiteX4" fmla="*/ 3985601 w 5271134"/>
              <a:gd name="connsiteY4" fmla="*/ 0 h 7056120"/>
              <a:gd name="connsiteX5" fmla="*/ 5271134 w 5271134"/>
              <a:gd name="connsiteY5" fmla="*/ 5862 h 7056120"/>
              <a:gd name="connsiteX6" fmla="*/ 2619374 w 5271134"/>
              <a:gd name="connsiteY6" fmla="*/ 7008642 h 7056120"/>
              <a:gd name="connsiteX7" fmla="*/ 0 w 5271134"/>
              <a:gd name="connsiteY7" fmla="*/ 7006738 h 7056120"/>
              <a:gd name="connsiteX8" fmla="*/ 0 w 5271134"/>
              <a:gd name="connsiteY8" fmla="*/ 5862 h 7056120"/>
              <a:gd name="connsiteX0" fmla="*/ 0 w 5271134"/>
              <a:gd name="connsiteY0" fmla="*/ 5862 h 7056120"/>
              <a:gd name="connsiteX1" fmla="*/ 3885405 w 5271134"/>
              <a:gd name="connsiteY1" fmla="*/ 1099 h 7056120"/>
              <a:gd name="connsiteX2" fmla="*/ 1208404 w 5271134"/>
              <a:gd name="connsiteY2" fmla="*/ 7046742 h 7056120"/>
              <a:gd name="connsiteX3" fmla="*/ 1299844 w 5271134"/>
              <a:gd name="connsiteY3" fmla="*/ 7056120 h 7056120"/>
              <a:gd name="connsiteX4" fmla="*/ 3985601 w 5271134"/>
              <a:gd name="connsiteY4" fmla="*/ 0 h 7056120"/>
              <a:gd name="connsiteX5" fmla="*/ 5271134 w 5271134"/>
              <a:gd name="connsiteY5" fmla="*/ 5862 h 7056120"/>
              <a:gd name="connsiteX6" fmla="*/ 2619374 w 5271134"/>
              <a:gd name="connsiteY6" fmla="*/ 7008642 h 7056120"/>
              <a:gd name="connsiteX7" fmla="*/ 0 w 5271134"/>
              <a:gd name="connsiteY7" fmla="*/ 7006738 h 7056120"/>
              <a:gd name="connsiteX8" fmla="*/ 0 w 5271134"/>
              <a:gd name="connsiteY8" fmla="*/ 5862 h 7056120"/>
              <a:gd name="connsiteX0" fmla="*/ 0 w 5271134"/>
              <a:gd name="connsiteY0" fmla="*/ 5862 h 7056120"/>
              <a:gd name="connsiteX1" fmla="*/ 3908265 w 5271134"/>
              <a:gd name="connsiteY1" fmla="*/ 8719 h 7056120"/>
              <a:gd name="connsiteX2" fmla="*/ 1208404 w 5271134"/>
              <a:gd name="connsiteY2" fmla="*/ 7046742 h 7056120"/>
              <a:gd name="connsiteX3" fmla="*/ 1299844 w 5271134"/>
              <a:gd name="connsiteY3" fmla="*/ 7056120 h 7056120"/>
              <a:gd name="connsiteX4" fmla="*/ 3985601 w 5271134"/>
              <a:gd name="connsiteY4" fmla="*/ 0 h 7056120"/>
              <a:gd name="connsiteX5" fmla="*/ 5271134 w 5271134"/>
              <a:gd name="connsiteY5" fmla="*/ 5862 h 7056120"/>
              <a:gd name="connsiteX6" fmla="*/ 2619374 w 5271134"/>
              <a:gd name="connsiteY6" fmla="*/ 7008642 h 7056120"/>
              <a:gd name="connsiteX7" fmla="*/ 0 w 5271134"/>
              <a:gd name="connsiteY7" fmla="*/ 7006738 h 7056120"/>
              <a:gd name="connsiteX8" fmla="*/ 0 w 5271134"/>
              <a:gd name="connsiteY8" fmla="*/ 5862 h 7056120"/>
              <a:gd name="connsiteX0" fmla="*/ 0 w 5271134"/>
              <a:gd name="connsiteY0" fmla="*/ 5862 h 7056120"/>
              <a:gd name="connsiteX1" fmla="*/ 3908265 w 5271134"/>
              <a:gd name="connsiteY1" fmla="*/ 8719 h 7056120"/>
              <a:gd name="connsiteX2" fmla="*/ 1231264 w 5271134"/>
              <a:gd name="connsiteY2" fmla="*/ 7046742 h 7056120"/>
              <a:gd name="connsiteX3" fmla="*/ 1299844 w 5271134"/>
              <a:gd name="connsiteY3" fmla="*/ 7056120 h 7056120"/>
              <a:gd name="connsiteX4" fmla="*/ 3985601 w 5271134"/>
              <a:gd name="connsiteY4" fmla="*/ 0 h 7056120"/>
              <a:gd name="connsiteX5" fmla="*/ 5271134 w 5271134"/>
              <a:gd name="connsiteY5" fmla="*/ 5862 h 7056120"/>
              <a:gd name="connsiteX6" fmla="*/ 2619374 w 5271134"/>
              <a:gd name="connsiteY6" fmla="*/ 7008642 h 7056120"/>
              <a:gd name="connsiteX7" fmla="*/ 0 w 5271134"/>
              <a:gd name="connsiteY7" fmla="*/ 7006738 h 7056120"/>
              <a:gd name="connsiteX8" fmla="*/ 0 w 5271134"/>
              <a:gd name="connsiteY8" fmla="*/ 5862 h 7056120"/>
              <a:gd name="connsiteX0" fmla="*/ 0 w 5271134"/>
              <a:gd name="connsiteY0" fmla="*/ 6350 h 7056608"/>
              <a:gd name="connsiteX1" fmla="*/ 2670174 w 5271134"/>
              <a:gd name="connsiteY1" fmla="*/ 0 h 7056608"/>
              <a:gd name="connsiteX2" fmla="*/ 3908265 w 5271134"/>
              <a:gd name="connsiteY2" fmla="*/ 9207 h 7056608"/>
              <a:gd name="connsiteX3" fmla="*/ 1231264 w 5271134"/>
              <a:gd name="connsiteY3" fmla="*/ 7047230 h 7056608"/>
              <a:gd name="connsiteX4" fmla="*/ 1299844 w 5271134"/>
              <a:gd name="connsiteY4" fmla="*/ 7056608 h 7056608"/>
              <a:gd name="connsiteX5" fmla="*/ 3985601 w 5271134"/>
              <a:gd name="connsiteY5" fmla="*/ 488 h 7056608"/>
              <a:gd name="connsiteX6" fmla="*/ 5271134 w 5271134"/>
              <a:gd name="connsiteY6" fmla="*/ 6350 h 7056608"/>
              <a:gd name="connsiteX7" fmla="*/ 2619374 w 5271134"/>
              <a:gd name="connsiteY7" fmla="*/ 7009130 h 7056608"/>
              <a:gd name="connsiteX8" fmla="*/ 0 w 5271134"/>
              <a:gd name="connsiteY8" fmla="*/ 7007226 h 7056608"/>
              <a:gd name="connsiteX9" fmla="*/ 0 w 5271134"/>
              <a:gd name="connsiteY9" fmla="*/ 6350 h 7056608"/>
              <a:gd name="connsiteX0" fmla="*/ 0 w 5271134"/>
              <a:gd name="connsiteY0" fmla="*/ 6350 h 7056608"/>
              <a:gd name="connsiteX1" fmla="*/ 2581274 w 5271134"/>
              <a:gd name="connsiteY1" fmla="*/ 0 h 7056608"/>
              <a:gd name="connsiteX2" fmla="*/ 2670174 w 5271134"/>
              <a:gd name="connsiteY2" fmla="*/ 0 h 7056608"/>
              <a:gd name="connsiteX3" fmla="*/ 3908265 w 5271134"/>
              <a:gd name="connsiteY3" fmla="*/ 9207 h 7056608"/>
              <a:gd name="connsiteX4" fmla="*/ 1231264 w 5271134"/>
              <a:gd name="connsiteY4" fmla="*/ 7047230 h 7056608"/>
              <a:gd name="connsiteX5" fmla="*/ 1299844 w 5271134"/>
              <a:gd name="connsiteY5" fmla="*/ 7056608 h 7056608"/>
              <a:gd name="connsiteX6" fmla="*/ 3985601 w 5271134"/>
              <a:gd name="connsiteY6" fmla="*/ 488 h 7056608"/>
              <a:gd name="connsiteX7" fmla="*/ 5271134 w 5271134"/>
              <a:gd name="connsiteY7" fmla="*/ 6350 h 7056608"/>
              <a:gd name="connsiteX8" fmla="*/ 2619374 w 5271134"/>
              <a:gd name="connsiteY8" fmla="*/ 7009130 h 7056608"/>
              <a:gd name="connsiteX9" fmla="*/ 0 w 5271134"/>
              <a:gd name="connsiteY9" fmla="*/ 7007226 h 7056608"/>
              <a:gd name="connsiteX10" fmla="*/ 0 w 5271134"/>
              <a:gd name="connsiteY10" fmla="*/ 6350 h 7056608"/>
              <a:gd name="connsiteX0" fmla="*/ 1244600 w 5271134"/>
              <a:gd name="connsiteY0" fmla="*/ 6350 h 7056608"/>
              <a:gd name="connsiteX1" fmla="*/ 2581274 w 5271134"/>
              <a:gd name="connsiteY1" fmla="*/ 0 h 7056608"/>
              <a:gd name="connsiteX2" fmla="*/ 2670174 w 5271134"/>
              <a:gd name="connsiteY2" fmla="*/ 0 h 7056608"/>
              <a:gd name="connsiteX3" fmla="*/ 3908265 w 5271134"/>
              <a:gd name="connsiteY3" fmla="*/ 9207 h 7056608"/>
              <a:gd name="connsiteX4" fmla="*/ 1231264 w 5271134"/>
              <a:gd name="connsiteY4" fmla="*/ 7047230 h 7056608"/>
              <a:gd name="connsiteX5" fmla="*/ 1299844 w 5271134"/>
              <a:gd name="connsiteY5" fmla="*/ 7056608 h 7056608"/>
              <a:gd name="connsiteX6" fmla="*/ 3985601 w 5271134"/>
              <a:gd name="connsiteY6" fmla="*/ 488 h 7056608"/>
              <a:gd name="connsiteX7" fmla="*/ 5271134 w 5271134"/>
              <a:gd name="connsiteY7" fmla="*/ 6350 h 7056608"/>
              <a:gd name="connsiteX8" fmla="*/ 2619374 w 5271134"/>
              <a:gd name="connsiteY8" fmla="*/ 7009130 h 7056608"/>
              <a:gd name="connsiteX9" fmla="*/ 0 w 5271134"/>
              <a:gd name="connsiteY9" fmla="*/ 7007226 h 7056608"/>
              <a:gd name="connsiteX10" fmla="*/ 1244600 w 5271134"/>
              <a:gd name="connsiteY10" fmla="*/ 6350 h 7056608"/>
              <a:gd name="connsiteX0" fmla="*/ 13336 w 4039870"/>
              <a:gd name="connsiteY0" fmla="*/ 6350 h 7056608"/>
              <a:gd name="connsiteX1" fmla="*/ 1350010 w 4039870"/>
              <a:gd name="connsiteY1" fmla="*/ 0 h 7056608"/>
              <a:gd name="connsiteX2" fmla="*/ 1438910 w 4039870"/>
              <a:gd name="connsiteY2" fmla="*/ 0 h 7056608"/>
              <a:gd name="connsiteX3" fmla="*/ 2677001 w 4039870"/>
              <a:gd name="connsiteY3" fmla="*/ 9207 h 7056608"/>
              <a:gd name="connsiteX4" fmla="*/ 0 w 4039870"/>
              <a:gd name="connsiteY4" fmla="*/ 7047230 h 7056608"/>
              <a:gd name="connsiteX5" fmla="*/ 68580 w 4039870"/>
              <a:gd name="connsiteY5" fmla="*/ 7056608 h 7056608"/>
              <a:gd name="connsiteX6" fmla="*/ 2754337 w 4039870"/>
              <a:gd name="connsiteY6" fmla="*/ 488 h 7056608"/>
              <a:gd name="connsiteX7" fmla="*/ 4039870 w 4039870"/>
              <a:gd name="connsiteY7" fmla="*/ 6350 h 7056608"/>
              <a:gd name="connsiteX8" fmla="*/ 1388110 w 4039870"/>
              <a:gd name="connsiteY8" fmla="*/ 7009130 h 7056608"/>
              <a:gd name="connsiteX9" fmla="*/ 32386 w 4039870"/>
              <a:gd name="connsiteY9" fmla="*/ 7013576 h 7056608"/>
              <a:gd name="connsiteX10" fmla="*/ 13336 w 4039870"/>
              <a:gd name="connsiteY10" fmla="*/ 6350 h 7056608"/>
              <a:gd name="connsiteX0" fmla="*/ 13336 w 4039870"/>
              <a:gd name="connsiteY0" fmla="*/ 9525 h 7059783"/>
              <a:gd name="connsiteX1" fmla="*/ 1350010 w 4039870"/>
              <a:gd name="connsiteY1" fmla="*/ 3175 h 7059783"/>
              <a:gd name="connsiteX2" fmla="*/ 1400810 w 4039870"/>
              <a:gd name="connsiteY2" fmla="*/ 0 h 7059783"/>
              <a:gd name="connsiteX3" fmla="*/ 1438910 w 4039870"/>
              <a:gd name="connsiteY3" fmla="*/ 3175 h 7059783"/>
              <a:gd name="connsiteX4" fmla="*/ 2677001 w 4039870"/>
              <a:gd name="connsiteY4" fmla="*/ 12382 h 7059783"/>
              <a:gd name="connsiteX5" fmla="*/ 0 w 4039870"/>
              <a:gd name="connsiteY5" fmla="*/ 7050405 h 7059783"/>
              <a:gd name="connsiteX6" fmla="*/ 68580 w 4039870"/>
              <a:gd name="connsiteY6" fmla="*/ 7059783 h 7059783"/>
              <a:gd name="connsiteX7" fmla="*/ 2754337 w 4039870"/>
              <a:gd name="connsiteY7" fmla="*/ 3663 h 7059783"/>
              <a:gd name="connsiteX8" fmla="*/ 4039870 w 4039870"/>
              <a:gd name="connsiteY8" fmla="*/ 9525 h 7059783"/>
              <a:gd name="connsiteX9" fmla="*/ 1388110 w 4039870"/>
              <a:gd name="connsiteY9" fmla="*/ 7012305 h 7059783"/>
              <a:gd name="connsiteX10" fmla="*/ 32386 w 4039870"/>
              <a:gd name="connsiteY10" fmla="*/ 7016751 h 7059783"/>
              <a:gd name="connsiteX11" fmla="*/ 13336 w 4039870"/>
              <a:gd name="connsiteY11" fmla="*/ 9525 h 7059783"/>
              <a:gd name="connsiteX0" fmla="*/ 13336 w 4039870"/>
              <a:gd name="connsiteY0" fmla="*/ 6350 h 7056608"/>
              <a:gd name="connsiteX1" fmla="*/ 1350010 w 4039870"/>
              <a:gd name="connsiteY1" fmla="*/ 0 h 7056608"/>
              <a:gd name="connsiteX2" fmla="*/ 19685 w 4039870"/>
              <a:gd name="connsiteY2" fmla="*/ 3749675 h 7056608"/>
              <a:gd name="connsiteX3" fmla="*/ 1438910 w 4039870"/>
              <a:gd name="connsiteY3" fmla="*/ 0 h 7056608"/>
              <a:gd name="connsiteX4" fmla="*/ 2677001 w 4039870"/>
              <a:gd name="connsiteY4" fmla="*/ 9207 h 7056608"/>
              <a:gd name="connsiteX5" fmla="*/ 0 w 4039870"/>
              <a:gd name="connsiteY5" fmla="*/ 7047230 h 7056608"/>
              <a:gd name="connsiteX6" fmla="*/ 68580 w 4039870"/>
              <a:gd name="connsiteY6" fmla="*/ 7056608 h 7056608"/>
              <a:gd name="connsiteX7" fmla="*/ 2754337 w 4039870"/>
              <a:gd name="connsiteY7" fmla="*/ 488 h 7056608"/>
              <a:gd name="connsiteX8" fmla="*/ 4039870 w 4039870"/>
              <a:gd name="connsiteY8" fmla="*/ 6350 h 7056608"/>
              <a:gd name="connsiteX9" fmla="*/ 1388110 w 4039870"/>
              <a:gd name="connsiteY9" fmla="*/ 7009130 h 7056608"/>
              <a:gd name="connsiteX10" fmla="*/ 32386 w 4039870"/>
              <a:gd name="connsiteY10" fmla="*/ 7013576 h 7056608"/>
              <a:gd name="connsiteX11" fmla="*/ 13336 w 4039870"/>
              <a:gd name="connsiteY11" fmla="*/ 6350 h 7056608"/>
              <a:gd name="connsiteX0" fmla="*/ 13336 w 4039870"/>
              <a:gd name="connsiteY0" fmla="*/ 6350 h 7056608"/>
              <a:gd name="connsiteX1" fmla="*/ 1369060 w 4039870"/>
              <a:gd name="connsiteY1" fmla="*/ 0 h 7056608"/>
              <a:gd name="connsiteX2" fmla="*/ 19685 w 4039870"/>
              <a:gd name="connsiteY2" fmla="*/ 3749675 h 7056608"/>
              <a:gd name="connsiteX3" fmla="*/ 1438910 w 4039870"/>
              <a:gd name="connsiteY3" fmla="*/ 0 h 7056608"/>
              <a:gd name="connsiteX4" fmla="*/ 2677001 w 4039870"/>
              <a:gd name="connsiteY4" fmla="*/ 9207 h 7056608"/>
              <a:gd name="connsiteX5" fmla="*/ 0 w 4039870"/>
              <a:gd name="connsiteY5" fmla="*/ 7047230 h 7056608"/>
              <a:gd name="connsiteX6" fmla="*/ 68580 w 4039870"/>
              <a:gd name="connsiteY6" fmla="*/ 7056608 h 7056608"/>
              <a:gd name="connsiteX7" fmla="*/ 2754337 w 4039870"/>
              <a:gd name="connsiteY7" fmla="*/ 488 h 7056608"/>
              <a:gd name="connsiteX8" fmla="*/ 4039870 w 4039870"/>
              <a:gd name="connsiteY8" fmla="*/ 6350 h 7056608"/>
              <a:gd name="connsiteX9" fmla="*/ 1388110 w 4039870"/>
              <a:gd name="connsiteY9" fmla="*/ 7009130 h 7056608"/>
              <a:gd name="connsiteX10" fmla="*/ 32386 w 4039870"/>
              <a:gd name="connsiteY10" fmla="*/ 7013576 h 7056608"/>
              <a:gd name="connsiteX11" fmla="*/ 13336 w 4039870"/>
              <a:gd name="connsiteY11" fmla="*/ 6350 h 7056608"/>
              <a:gd name="connsiteX0" fmla="*/ 13336 w 4039870"/>
              <a:gd name="connsiteY0" fmla="*/ 6350 h 7056608"/>
              <a:gd name="connsiteX1" fmla="*/ 1369060 w 4039870"/>
              <a:gd name="connsiteY1" fmla="*/ 0 h 7056608"/>
              <a:gd name="connsiteX2" fmla="*/ 807085 w 4039870"/>
              <a:gd name="connsiteY2" fmla="*/ 1568450 h 7056608"/>
              <a:gd name="connsiteX3" fmla="*/ 19685 w 4039870"/>
              <a:gd name="connsiteY3" fmla="*/ 3749675 h 7056608"/>
              <a:gd name="connsiteX4" fmla="*/ 1438910 w 4039870"/>
              <a:gd name="connsiteY4" fmla="*/ 0 h 7056608"/>
              <a:gd name="connsiteX5" fmla="*/ 2677001 w 4039870"/>
              <a:gd name="connsiteY5" fmla="*/ 9207 h 7056608"/>
              <a:gd name="connsiteX6" fmla="*/ 0 w 4039870"/>
              <a:gd name="connsiteY6" fmla="*/ 7047230 h 7056608"/>
              <a:gd name="connsiteX7" fmla="*/ 68580 w 4039870"/>
              <a:gd name="connsiteY7" fmla="*/ 7056608 h 7056608"/>
              <a:gd name="connsiteX8" fmla="*/ 2754337 w 4039870"/>
              <a:gd name="connsiteY8" fmla="*/ 488 h 7056608"/>
              <a:gd name="connsiteX9" fmla="*/ 4039870 w 4039870"/>
              <a:gd name="connsiteY9" fmla="*/ 6350 h 7056608"/>
              <a:gd name="connsiteX10" fmla="*/ 1388110 w 4039870"/>
              <a:gd name="connsiteY10" fmla="*/ 7009130 h 7056608"/>
              <a:gd name="connsiteX11" fmla="*/ 32386 w 4039870"/>
              <a:gd name="connsiteY11" fmla="*/ 7013576 h 7056608"/>
              <a:gd name="connsiteX12" fmla="*/ 13336 w 4039870"/>
              <a:gd name="connsiteY12" fmla="*/ 6350 h 7056608"/>
              <a:gd name="connsiteX0" fmla="*/ 13336 w 4039870"/>
              <a:gd name="connsiteY0" fmla="*/ 6350 h 7056608"/>
              <a:gd name="connsiteX1" fmla="*/ 1369060 w 4039870"/>
              <a:gd name="connsiteY1" fmla="*/ 0 h 7056608"/>
              <a:gd name="connsiteX2" fmla="*/ 22860 w 4039870"/>
              <a:gd name="connsiteY2" fmla="*/ 3540125 h 7056608"/>
              <a:gd name="connsiteX3" fmla="*/ 19685 w 4039870"/>
              <a:gd name="connsiteY3" fmla="*/ 3749675 h 7056608"/>
              <a:gd name="connsiteX4" fmla="*/ 1438910 w 4039870"/>
              <a:gd name="connsiteY4" fmla="*/ 0 h 7056608"/>
              <a:gd name="connsiteX5" fmla="*/ 2677001 w 4039870"/>
              <a:gd name="connsiteY5" fmla="*/ 9207 h 7056608"/>
              <a:gd name="connsiteX6" fmla="*/ 0 w 4039870"/>
              <a:gd name="connsiteY6" fmla="*/ 7047230 h 7056608"/>
              <a:gd name="connsiteX7" fmla="*/ 68580 w 4039870"/>
              <a:gd name="connsiteY7" fmla="*/ 7056608 h 7056608"/>
              <a:gd name="connsiteX8" fmla="*/ 2754337 w 4039870"/>
              <a:gd name="connsiteY8" fmla="*/ 488 h 7056608"/>
              <a:gd name="connsiteX9" fmla="*/ 4039870 w 4039870"/>
              <a:gd name="connsiteY9" fmla="*/ 6350 h 7056608"/>
              <a:gd name="connsiteX10" fmla="*/ 1388110 w 4039870"/>
              <a:gd name="connsiteY10" fmla="*/ 7009130 h 7056608"/>
              <a:gd name="connsiteX11" fmla="*/ 32386 w 4039870"/>
              <a:gd name="connsiteY11" fmla="*/ 7013576 h 7056608"/>
              <a:gd name="connsiteX12" fmla="*/ 13336 w 4039870"/>
              <a:gd name="connsiteY12" fmla="*/ 6350 h 7056608"/>
              <a:gd name="connsiteX0" fmla="*/ 13336 w 4039870"/>
              <a:gd name="connsiteY0" fmla="*/ 6350 h 7056608"/>
              <a:gd name="connsiteX1" fmla="*/ 1369060 w 4039870"/>
              <a:gd name="connsiteY1" fmla="*/ 0 h 7056608"/>
              <a:gd name="connsiteX2" fmla="*/ 19685 w 4039870"/>
              <a:gd name="connsiteY2" fmla="*/ 3556000 h 7056608"/>
              <a:gd name="connsiteX3" fmla="*/ 19685 w 4039870"/>
              <a:gd name="connsiteY3" fmla="*/ 3749675 h 7056608"/>
              <a:gd name="connsiteX4" fmla="*/ 1438910 w 4039870"/>
              <a:gd name="connsiteY4" fmla="*/ 0 h 7056608"/>
              <a:gd name="connsiteX5" fmla="*/ 2677001 w 4039870"/>
              <a:gd name="connsiteY5" fmla="*/ 9207 h 7056608"/>
              <a:gd name="connsiteX6" fmla="*/ 0 w 4039870"/>
              <a:gd name="connsiteY6" fmla="*/ 7047230 h 7056608"/>
              <a:gd name="connsiteX7" fmla="*/ 68580 w 4039870"/>
              <a:gd name="connsiteY7" fmla="*/ 7056608 h 7056608"/>
              <a:gd name="connsiteX8" fmla="*/ 2754337 w 4039870"/>
              <a:gd name="connsiteY8" fmla="*/ 488 h 7056608"/>
              <a:gd name="connsiteX9" fmla="*/ 4039870 w 4039870"/>
              <a:gd name="connsiteY9" fmla="*/ 6350 h 7056608"/>
              <a:gd name="connsiteX10" fmla="*/ 1388110 w 4039870"/>
              <a:gd name="connsiteY10" fmla="*/ 7009130 h 7056608"/>
              <a:gd name="connsiteX11" fmla="*/ 32386 w 4039870"/>
              <a:gd name="connsiteY11" fmla="*/ 7013576 h 7056608"/>
              <a:gd name="connsiteX12" fmla="*/ 13336 w 4039870"/>
              <a:gd name="connsiteY12" fmla="*/ 6350 h 7056608"/>
              <a:gd name="connsiteX0" fmla="*/ 13336 w 4039870"/>
              <a:gd name="connsiteY0" fmla="*/ 6350 h 7056608"/>
              <a:gd name="connsiteX1" fmla="*/ 1369060 w 4039870"/>
              <a:gd name="connsiteY1" fmla="*/ 0 h 7056608"/>
              <a:gd name="connsiteX2" fmla="*/ 19685 w 4039870"/>
              <a:gd name="connsiteY2" fmla="*/ 3568700 h 7056608"/>
              <a:gd name="connsiteX3" fmla="*/ 19685 w 4039870"/>
              <a:gd name="connsiteY3" fmla="*/ 3749675 h 7056608"/>
              <a:gd name="connsiteX4" fmla="*/ 1438910 w 4039870"/>
              <a:gd name="connsiteY4" fmla="*/ 0 h 7056608"/>
              <a:gd name="connsiteX5" fmla="*/ 2677001 w 4039870"/>
              <a:gd name="connsiteY5" fmla="*/ 9207 h 7056608"/>
              <a:gd name="connsiteX6" fmla="*/ 0 w 4039870"/>
              <a:gd name="connsiteY6" fmla="*/ 7047230 h 7056608"/>
              <a:gd name="connsiteX7" fmla="*/ 68580 w 4039870"/>
              <a:gd name="connsiteY7" fmla="*/ 7056608 h 7056608"/>
              <a:gd name="connsiteX8" fmla="*/ 2754337 w 4039870"/>
              <a:gd name="connsiteY8" fmla="*/ 488 h 7056608"/>
              <a:gd name="connsiteX9" fmla="*/ 4039870 w 4039870"/>
              <a:gd name="connsiteY9" fmla="*/ 6350 h 7056608"/>
              <a:gd name="connsiteX10" fmla="*/ 1388110 w 4039870"/>
              <a:gd name="connsiteY10" fmla="*/ 7009130 h 7056608"/>
              <a:gd name="connsiteX11" fmla="*/ 32386 w 4039870"/>
              <a:gd name="connsiteY11" fmla="*/ 7013576 h 7056608"/>
              <a:gd name="connsiteX12" fmla="*/ 13336 w 4039870"/>
              <a:gd name="connsiteY12" fmla="*/ 6350 h 705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39870" h="7056608">
                <a:moveTo>
                  <a:pt x="13336" y="6350"/>
                </a:moveTo>
                <a:lnTo>
                  <a:pt x="1369060" y="0"/>
                </a:lnTo>
                <a:lnTo>
                  <a:pt x="19685" y="3568700"/>
                </a:lnTo>
                <a:cubicBezTo>
                  <a:pt x="18627" y="3638550"/>
                  <a:pt x="20743" y="3679825"/>
                  <a:pt x="19685" y="3749675"/>
                </a:cubicBezTo>
                <a:lnTo>
                  <a:pt x="1438910" y="0"/>
                </a:lnTo>
                <a:lnTo>
                  <a:pt x="2677001" y="9207"/>
                </a:lnTo>
                <a:lnTo>
                  <a:pt x="0" y="7047230"/>
                </a:lnTo>
                <a:lnTo>
                  <a:pt x="68580" y="7056608"/>
                </a:lnTo>
                <a:lnTo>
                  <a:pt x="2754337" y="488"/>
                </a:lnTo>
                <a:lnTo>
                  <a:pt x="4039870" y="6350"/>
                </a:lnTo>
                <a:lnTo>
                  <a:pt x="1388110" y="7009130"/>
                </a:lnTo>
                <a:lnTo>
                  <a:pt x="32386" y="7013576"/>
                </a:lnTo>
                <a:lnTo>
                  <a:pt x="13336" y="6350"/>
                </a:lnTo>
                <a:close/>
              </a:path>
            </a:pathLst>
          </a:custGeom>
          <a:solidFill>
            <a:schemeClr val="bg1">
              <a:lumMod val="65000"/>
            </a:schemeClr>
          </a:solidFill>
        </p:spPr>
        <p:txBody>
          <a:bodyPr lIns="576000" tIns="3348000"/>
          <a:lstStyle>
            <a:lvl1pPr>
              <a:defRPr sz="1200" b="1">
                <a:solidFill>
                  <a:schemeClr val="bg1"/>
                </a:solidFill>
              </a:defRPr>
            </a:lvl1pPr>
          </a:lstStyle>
          <a:p>
            <a:endParaRPr lang="en-US"/>
          </a:p>
        </p:txBody>
      </p:sp>
      <p:sp>
        <p:nvSpPr>
          <p:cNvPr id="7" name="Picture Placeholder 6"/>
          <p:cNvSpPr>
            <a:spLocks noGrp="1"/>
          </p:cNvSpPr>
          <p:nvPr>
            <p:ph type="pic" sz="quarter" idx="18" hasCustomPrompt="1"/>
          </p:nvPr>
        </p:nvSpPr>
        <p:spPr>
          <a:xfrm>
            <a:off x="7148513" y="5314007"/>
            <a:ext cx="1397000" cy="488950"/>
          </a:xfrm>
        </p:spPr>
        <p:txBody>
          <a:bodyPr/>
          <a:lstStyle>
            <a:lvl1pPr algn="ctr">
              <a:defRPr sz="800" b="1"/>
            </a:lvl1pPr>
          </a:lstStyle>
          <a:p>
            <a:r>
              <a:rPr lang="en-AU" dirty="0"/>
              <a:t>Client logo</a:t>
            </a:r>
            <a:endParaRPr lang="en-US" dirty="0"/>
          </a:p>
        </p:txBody>
      </p:sp>
    </p:spTree>
    <p:extLst>
      <p:ext uri="{BB962C8B-B14F-4D97-AF65-F5344CB8AC3E}">
        <p14:creationId xmlns:p14="http://schemas.microsoft.com/office/powerpoint/2010/main" val="3352073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3 Divider no image">
    <p:spTree>
      <p:nvGrpSpPr>
        <p:cNvPr id="1" name=""/>
        <p:cNvGrpSpPr/>
        <p:nvPr/>
      </p:nvGrpSpPr>
      <p:grpSpPr>
        <a:xfrm>
          <a:off x="0" y="0"/>
          <a:ext cx="0" cy="0"/>
          <a:chOff x="0" y="0"/>
          <a:chExt cx="0" cy="0"/>
        </a:xfrm>
      </p:grpSpPr>
      <p:sp>
        <p:nvSpPr>
          <p:cNvPr id="10" name="Title 9"/>
          <p:cNvSpPr>
            <a:spLocks noGrp="1"/>
          </p:cNvSpPr>
          <p:nvPr>
            <p:ph type="title"/>
          </p:nvPr>
        </p:nvSpPr>
        <p:spPr>
          <a:xfrm>
            <a:off x="600084" y="2226733"/>
            <a:ext cx="7896221" cy="3005667"/>
          </a:xfrm>
        </p:spPr>
        <p:txBody>
          <a:bodyPr anchor="t">
            <a:noAutofit/>
          </a:bodyPr>
          <a:lstStyle>
            <a:lvl1pPr>
              <a:lnSpc>
                <a:spcPts val="3600"/>
              </a:lnSpc>
              <a:defRPr sz="3600">
                <a:solidFill>
                  <a:schemeClr val="bg1"/>
                </a:solidFill>
              </a:defRPr>
            </a:lvl1pPr>
          </a:lstStyle>
          <a:p>
            <a:r>
              <a:rPr lang="en-US" dirty="0"/>
              <a:t>Click to edit Master title style</a:t>
            </a:r>
          </a:p>
        </p:txBody>
      </p:sp>
      <p:sp>
        <p:nvSpPr>
          <p:cNvPr id="5" name="Parallelogram 4"/>
          <p:cNvSpPr/>
          <p:nvPr userDrawn="1"/>
        </p:nvSpPr>
        <p:spPr>
          <a:xfrm>
            <a:off x="593726" y="1364894"/>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Tree>
    <p:extLst>
      <p:ext uri="{BB962C8B-B14F-4D97-AF65-F5344CB8AC3E}">
        <p14:creationId xmlns:p14="http://schemas.microsoft.com/office/powerpoint/2010/main" val="2980896465"/>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4 Divider no image">
    <p:spTree>
      <p:nvGrpSpPr>
        <p:cNvPr id="1" name=""/>
        <p:cNvGrpSpPr/>
        <p:nvPr/>
      </p:nvGrpSpPr>
      <p:grpSpPr>
        <a:xfrm>
          <a:off x="0" y="0"/>
          <a:ext cx="0" cy="0"/>
          <a:chOff x="0" y="0"/>
          <a:chExt cx="0" cy="0"/>
        </a:xfrm>
      </p:grpSpPr>
      <p:sp>
        <p:nvSpPr>
          <p:cNvPr id="10" name="Title 9"/>
          <p:cNvSpPr>
            <a:spLocks noGrp="1"/>
          </p:cNvSpPr>
          <p:nvPr>
            <p:ph type="title"/>
          </p:nvPr>
        </p:nvSpPr>
        <p:spPr>
          <a:xfrm>
            <a:off x="600084" y="2226733"/>
            <a:ext cx="7896221" cy="3005667"/>
          </a:xfrm>
        </p:spPr>
        <p:txBody>
          <a:bodyPr anchor="t">
            <a:noAutofit/>
          </a:bodyPr>
          <a:lstStyle>
            <a:lvl1pPr>
              <a:lnSpc>
                <a:spcPts val="3600"/>
              </a:lnSpc>
              <a:defRPr sz="3600">
                <a:solidFill>
                  <a:schemeClr val="bg1"/>
                </a:solidFill>
              </a:defRPr>
            </a:lvl1pPr>
          </a:lstStyle>
          <a:p>
            <a:r>
              <a:rPr lang="en-US" dirty="0"/>
              <a:t>Click to edit Master title style</a:t>
            </a:r>
          </a:p>
        </p:txBody>
      </p:sp>
      <p:sp>
        <p:nvSpPr>
          <p:cNvPr id="5" name="Parallelogram 4"/>
          <p:cNvSpPr/>
          <p:nvPr userDrawn="1"/>
        </p:nvSpPr>
        <p:spPr>
          <a:xfrm>
            <a:off x="593726" y="1364894"/>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Tree>
    <p:extLst>
      <p:ext uri="{BB962C8B-B14F-4D97-AF65-F5344CB8AC3E}">
        <p14:creationId xmlns:p14="http://schemas.microsoft.com/office/powerpoint/2010/main" val="3021056771"/>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5 Divider no image">
    <p:spTree>
      <p:nvGrpSpPr>
        <p:cNvPr id="1" name=""/>
        <p:cNvGrpSpPr/>
        <p:nvPr/>
      </p:nvGrpSpPr>
      <p:grpSpPr>
        <a:xfrm>
          <a:off x="0" y="0"/>
          <a:ext cx="0" cy="0"/>
          <a:chOff x="0" y="0"/>
          <a:chExt cx="0" cy="0"/>
        </a:xfrm>
      </p:grpSpPr>
      <p:sp>
        <p:nvSpPr>
          <p:cNvPr id="10" name="Title 9"/>
          <p:cNvSpPr>
            <a:spLocks noGrp="1"/>
          </p:cNvSpPr>
          <p:nvPr>
            <p:ph type="title"/>
          </p:nvPr>
        </p:nvSpPr>
        <p:spPr>
          <a:xfrm>
            <a:off x="600084" y="2226733"/>
            <a:ext cx="7896221" cy="3005667"/>
          </a:xfrm>
        </p:spPr>
        <p:txBody>
          <a:bodyPr anchor="t">
            <a:noAutofit/>
          </a:bodyPr>
          <a:lstStyle>
            <a:lvl1pPr>
              <a:lnSpc>
                <a:spcPts val="3600"/>
              </a:lnSpc>
              <a:defRPr sz="3600">
                <a:solidFill>
                  <a:schemeClr val="bg1"/>
                </a:solidFill>
              </a:defRPr>
            </a:lvl1pPr>
          </a:lstStyle>
          <a:p>
            <a:r>
              <a:rPr lang="en-US" dirty="0"/>
              <a:t>Click to edit Master title style</a:t>
            </a:r>
          </a:p>
        </p:txBody>
      </p:sp>
      <p:sp>
        <p:nvSpPr>
          <p:cNvPr id="5" name="Parallelogram 4"/>
          <p:cNvSpPr/>
          <p:nvPr userDrawn="1"/>
        </p:nvSpPr>
        <p:spPr>
          <a:xfrm>
            <a:off x="593726" y="1364894"/>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Tree>
    <p:extLst>
      <p:ext uri="{BB962C8B-B14F-4D97-AF65-F5344CB8AC3E}">
        <p14:creationId xmlns:p14="http://schemas.microsoft.com/office/powerpoint/2010/main" val="2312631555"/>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isclaimer">
    <p:spTree>
      <p:nvGrpSpPr>
        <p:cNvPr id="1" name=""/>
        <p:cNvGrpSpPr/>
        <p:nvPr/>
      </p:nvGrpSpPr>
      <p:grpSpPr>
        <a:xfrm>
          <a:off x="0" y="0"/>
          <a:ext cx="0" cy="0"/>
          <a:chOff x="0" y="0"/>
          <a:chExt cx="0" cy="0"/>
        </a:xfrm>
      </p:grpSpPr>
      <p:sp>
        <p:nvSpPr>
          <p:cNvPr id="4" name="Rectangle 3"/>
          <p:cNvSpPr/>
          <p:nvPr userDrawn="1"/>
        </p:nvSpPr>
        <p:spPr>
          <a:xfrm>
            <a:off x="608013" y="3926361"/>
            <a:ext cx="7956550" cy="1569660"/>
          </a:xfrm>
          <a:prstGeom prst="rect">
            <a:avLst/>
          </a:prstGeom>
        </p:spPr>
        <p:txBody>
          <a:bodyPr wrap="square" lIns="0" tIns="0" rIns="0" bIns="0">
            <a:spAutoFit/>
          </a:bodyPr>
          <a:lstStyle/>
          <a:p>
            <a:pPr>
              <a:spcAft>
                <a:spcPts val="600"/>
              </a:spcAft>
            </a:pPr>
            <a:r>
              <a:rPr lang="en-AU" sz="700" b="1" dirty="0">
                <a:solidFill>
                  <a:srgbClr val="A38F68"/>
                </a:solidFill>
                <a:cs typeface="Segoe UI"/>
              </a:rPr>
              <a:t>DISCLAIMER</a:t>
            </a:r>
          </a:p>
          <a:p>
            <a:pPr>
              <a:spcAft>
                <a:spcPts val="600"/>
              </a:spcAft>
            </a:pPr>
            <a:r>
              <a:rPr lang="en-AU" sz="700" dirty="0">
                <a:solidFill>
                  <a:srgbClr val="000000"/>
                </a:solidFill>
                <a:cs typeface="Segoe UI"/>
              </a:rPr>
              <a:t>This presentation has been prepared by a representative of Advisian.</a:t>
            </a:r>
          </a:p>
          <a:p>
            <a:pPr>
              <a:spcAft>
                <a:spcPts val="600"/>
              </a:spcAft>
            </a:pPr>
            <a:r>
              <a:rPr lang="en-AU" sz="700" dirty="0">
                <a:solidFill>
                  <a:srgbClr val="000000"/>
                </a:solidFill>
                <a:cs typeface="Segoe UI"/>
              </a:rPr>
              <a:t>The presentation contains the professional and personal opinions of the presenter, which are given in good faith.  As such, opinions presented herein may not always necessarily reflect the position of Advisian as a whole, its officers or executive.</a:t>
            </a:r>
          </a:p>
          <a:p>
            <a:pPr>
              <a:spcAft>
                <a:spcPts val="600"/>
              </a:spcAft>
            </a:pPr>
            <a:r>
              <a:rPr lang="en-AU" sz="700" dirty="0">
                <a:solidFill>
                  <a:srgbClr val="000000"/>
                </a:solidFill>
                <a:cs typeface="Segoe UI"/>
              </a:rPr>
              <a:t>Any forward-looking statements included in this presentation will involve subjective judgment and analysis and are subject to uncertainties, risks and contingencies—many of which are outside the control of, and may be unknown to, Advisian.  </a:t>
            </a:r>
          </a:p>
          <a:p>
            <a:pPr>
              <a:spcAft>
                <a:spcPts val="600"/>
              </a:spcAft>
            </a:pPr>
            <a:r>
              <a:rPr lang="en-AU" sz="700" dirty="0">
                <a:solidFill>
                  <a:srgbClr val="000000"/>
                </a:solidFill>
                <a:cs typeface="Segoe UI"/>
              </a:rPr>
              <a:t>Advisian and all associated entities and representatives make no representation or warranty as to the accuracy, reliability or completeness of information in this document and do not take responsibility for updating any information or correcting any error or omission that may become apparent after this document has been issued.</a:t>
            </a:r>
          </a:p>
          <a:p>
            <a:pPr>
              <a:spcAft>
                <a:spcPts val="600"/>
              </a:spcAft>
            </a:pPr>
            <a:r>
              <a:rPr lang="en-AU" sz="700" dirty="0">
                <a:solidFill>
                  <a:srgbClr val="000000"/>
                </a:solidFill>
                <a:cs typeface="Segoe UI"/>
              </a:rPr>
              <a:t>To the extent permitted by law, Advisian and its officers, employees, related bodies and agents disclaim all liability—direct, indirect or consequential (and whether or not arising out of the negligence, default or lack of care of Advisian and/or any of its agents)—for any loss or damage suffered by a recipient or other persons arising out of, or in connection with, any use or reliance on this presentation or information.</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5320" y="855137"/>
            <a:ext cx="1326027" cy="609601"/>
          </a:xfrm>
          <a:prstGeom prst="rect">
            <a:avLst/>
          </a:prstGeom>
        </p:spPr>
      </p:pic>
    </p:spTree>
    <p:extLst>
      <p:ext uri="{BB962C8B-B14F-4D97-AF65-F5344CB8AC3E}">
        <p14:creationId xmlns:p14="http://schemas.microsoft.com/office/powerpoint/2010/main" val="2131451906"/>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92860" y="2611091"/>
            <a:ext cx="3558295" cy="1635820"/>
          </a:xfrm>
          <a:prstGeom prst="rect">
            <a:avLst/>
          </a:prstGeom>
        </p:spPr>
      </p:pic>
    </p:spTree>
    <p:extLst>
      <p:ext uri="{BB962C8B-B14F-4D97-AF65-F5344CB8AC3E}">
        <p14:creationId xmlns:p14="http://schemas.microsoft.com/office/powerpoint/2010/main" val="3705793347"/>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userDrawn="1">
  <p:cSld name="Advisian Cover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1233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1" y="1589"/>
                        <a:ext cx="1587" cy="1587"/>
                      </a:xfrm>
                      <a:prstGeom prst="rect">
                        <a:avLst/>
                      </a:prstGeom>
                    </p:spPr>
                  </p:pic>
                </p:oleObj>
              </mc:Fallback>
            </mc:AlternateContent>
          </a:graphicData>
        </a:graphic>
      </p:graphicFrame>
      <p:sp>
        <p:nvSpPr>
          <p:cNvPr id="10" name="Freeform 9"/>
          <p:cNvSpPr/>
          <p:nvPr userDrawn="1"/>
        </p:nvSpPr>
        <p:spPr>
          <a:xfrm>
            <a:off x="4107180" y="-22858"/>
            <a:ext cx="5059680" cy="5509260"/>
          </a:xfrm>
          <a:custGeom>
            <a:avLst/>
            <a:gdLst>
              <a:gd name="connsiteX0" fmla="*/ 0 w 5059680"/>
              <a:gd name="connsiteY0" fmla="*/ 7620 h 5509260"/>
              <a:gd name="connsiteX1" fmla="*/ 2095500 w 5059680"/>
              <a:gd name="connsiteY1" fmla="*/ 5509260 h 5509260"/>
              <a:gd name="connsiteX2" fmla="*/ 5059680 w 5059680"/>
              <a:gd name="connsiteY2" fmla="*/ 5509260 h 5509260"/>
              <a:gd name="connsiteX3" fmla="*/ 5059680 w 5059680"/>
              <a:gd name="connsiteY3" fmla="*/ 0 h 5509260"/>
              <a:gd name="connsiteX4" fmla="*/ 0 w 5059680"/>
              <a:gd name="connsiteY4" fmla="*/ 7620 h 5509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9680" h="5509260">
                <a:moveTo>
                  <a:pt x="0" y="7620"/>
                </a:moveTo>
                <a:lnTo>
                  <a:pt x="2095500" y="5509260"/>
                </a:lnTo>
                <a:lnTo>
                  <a:pt x="5059680" y="5509260"/>
                </a:lnTo>
                <a:lnTo>
                  <a:pt x="5059680" y="0"/>
                </a:lnTo>
                <a:lnTo>
                  <a:pt x="0" y="762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AU" sz="1800" dirty="0">
              <a:solidFill>
                <a:srgbClr val="FFFFFF"/>
              </a:solidFill>
            </a:endParaRPr>
          </a:p>
        </p:txBody>
      </p:sp>
      <p:sp>
        <p:nvSpPr>
          <p:cNvPr id="13" name="Parallelogram 10"/>
          <p:cNvSpPr/>
          <p:nvPr userDrawn="1"/>
        </p:nvSpPr>
        <p:spPr>
          <a:xfrm>
            <a:off x="0" y="690992"/>
            <a:ext cx="7595296" cy="6167008"/>
          </a:xfrm>
          <a:custGeom>
            <a:avLst/>
            <a:gdLst/>
            <a:ahLst/>
            <a:cxnLst/>
            <a:rect l="l" t="t" r="r" b="b"/>
            <a:pathLst>
              <a:path w="7595296" h="6167008">
                <a:moveTo>
                  <a:pt x="979814" y="0"/>
                </a:moveTo>
                <a:lnTo>
                  <a:pt x="7595296" y="0"/>
                </a:lnTo>
                <a:lnTo>
                  <a:pt x="4949095" y="6167008"/>
                </a:lnTo>
                <a:lnTo>
                  <a:pt x="4805101" y="6167008"/>
                </a:lnTo>
                <a:lnTo>
                  <a:pt x="7389158" y="144828"/>
                </a:lnTo>
                <a:lnTo>
                  <a:pt x="1086113" y="144828"/>
                </a:lnTo>
                <a:lnTo>
                  <a:pt x="0" y="2676029"/>
                </a:lnTo>
                <a:lnTo>
                  <a:pt x="0" y="2283470"/>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AU" sz="1800" dirty="0">
              <a:solidFill>
                <a:srgbClr val="FFFFFF"/>
              </a:solidFill>
            </a:endParaRPr>
          </a:p>
        </p:txBody>
      </p:sp>
      <p:pic>
        <p:nvPicPr>
          <p:cNvPr id="18" name="Picture 12"/>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212944" y="5832645"/>
            <a:ext cx="1800200" cy="620691"/>
          </a:xfrm>
          <a:prstGeom prst="rect">
            <a:avLst/>
          </a:prstGeom>
        </p:spPr>
      </p:pic>
      <p:sp>
        <p:nvSpPr>
          <p:cNvPr id="20" name="Date Placeholder 3"/>
          <p:cNvSpPr txBox="1">
            <a:spLocks/>
          </p:cNvSpPr>
          <p:nvPr userDrawn="1"/>
        </p:nvSpPr>
        <p:spPr>
          <a:xfrm>
            <a:off x="827088" y="6276596"/>
            <a:ext cx="1269504" cy="216024"/>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1000" dirty="0">
                <a:solidFill>
                  <a:srgbClr val="000000"/>
                </a:solidFill>
                <a:ea typeface="Segoe UI" panose="020B0502040204020203" pitchFamily="34" charset="0"/>
                <a:cs typeface="Segoe UI" panose="020B0502040204020203" pitchFamily="34" charset="0"/>
              </a:rPr>
              <a:t>www.</a:t>
            </a:r>
            <a:r>
              <a:rPr lang="en-AU" sz="1000" b="1" dirty="0">
                <a:solidFill>
                  <a:srgbClr val="000000"/>
                </a:solidFill>
                <a:ea typeface="Segoe UI" panose="020B0502040204020203" pitchFamily="34" charset="0"/>
                <a:cs typeface="Segoe UI" panose="020B0502040204020203" pitchFamily="34" charset="0"/>
              </a:rPr>
              <a:t>advisian</a:t>
            </a:r>
            <a:r>
              <a:rPr lang="en-AU" sz="1000" dirty="0">
                <a:solidFill>
                  <a:srgbClr val="000000"/>
                </a:solidFill>
                <a:ea typeface="Segoe UI" panose="020B0502040204020203" pitchFamily="34" charset="0"/>
                <a:cs typeface="Segoe UI" panose="020B0502040204020203" pitchFamily="34" charset="0"/>
              </a:rPr>
              <a:t>.com</a:t>
            </a:r>
          </a:p>
        </p:txBody>
      </p:sp>
      <p:sp>
        <p:nvSpPr>
          <p:cNvPr id="3" name="Title 2"/>
          <p:cNvSpPr>
            <a:spLocks noGrp="1"/>
          </p:cNvSpPr>
          <p:nvPr>
            <p:ph type="title"/>
          </p:nvPr>
        </p:nvSpPr>
        <p:spPr>
          <a:xfrm>
            <a:off x="827098" y="2155290"/>
            <a:ext cx="3990477" cy="1492791"/>
          </a:xfrm>
        </p:spPr>
        <p:txBody>
          <a:bodyPr/>
          <a:lstStyle>
            <a:lvl1pPr rtl="0">
              <a:defRPr/>
            </a:lvl1pPr>
          </a:lstStyle>
          <a:p>
            <a:r>
              <a:rPr lang="en-US"/>
              <a:t>Click to edit Master title style</a:t>
            </a:r>
            <a:endParaRPr lang="en-AU" dirty="0"/>
          </a:p>
        </p:txBody>
      </p:sp>
      <p:sp>
        <p:nvSpPr>
          <p:cNvPr id="6" name="Text Placeholder 5"/>
          <p:cNvSpPr>
            <a:spLocks noGrp="1"/>
          </p:cNvSpPr>
          <p:nvPr>
            <p:ph type="body" sz="quarter" idx="10"/>
          </p:nvPr>
        </p:nvSpPr>
        <p:spPr>
          <a:xfrm>
            <a:off x="827088" y="3810003"/>
            <a:ext cx="4030662" cy="393700"/>
          </a:xfrm>
          <a:prstGeom prst="rect">
            <a:avLst/>
          </a:prstGeom>
        </p:spPr>
        <p:txBody>
          <a:bodyPr>
            <a:noAutofit/>
          </a:bodyPr>
          <a:lstStyle>
            <a:lvl1pPr rtl="0">
              <a:spcAft>
                <a:spcPts val="0"/>
              </a:spcAft>
              <a:defRPr sz="1800"/>
            </a:lvl1pPr>
            <a:lvl2pPr>
              <a:defRPr sz="1800"/>
            </a:lvl2pPr>
            <a:lvl3pPr>
              <a:defRPr sz="1800"/>
            </a:lvl3pPr>
            <a:lvl4pPr>
              <a:defRPr sz="1800"/>
            </a:lvl4pPr>
            <a:lvl5pPr>
              <a:defRPr sz="1800"/>
            </a:lvl5pPr>
          </a:lstStyle>
          <a:p>
            <a:pPr lvl="0"/>
            <a:r>
              <a:rPr lang="en-US"/>
              <a:t>Click to edit Master text styles</a:t>
            </a:r>
          </a:p>
        </p:txBody>
      </p:sp>
      <p:sp>
        <p:nvSpPr>
          <p:cNvPr id="8" name="Text Placeholder 7"/>
          <p:cNvSpPr>
            <a:spLocks noGrp="1"/>
          </p:cNvSpPr>
          <p:nvPr>
            <p:ph type="body" sz="quarter" idx="11"/>
          </p:nvPr>
        </p:nvSpPr>
        <p:spPr>
          <a:xfrm>
            <a:off x="827097" y="4865737"/>
            <a:ext cx="4059237" cy="533400"/>
          </a:xfrm>
          <a:prstGeom prst="rect">
            <a:avLst/>
          </a:prstGeom>
        </p:spPr>
        <p:txBody>
          <a:bodyPr>
            <a:noAutofit/>
          </a:bodyPr>
          <a:lstStyle>
            <a:lvl1pPr marL="0" indent="0" rtl="0">
              <a:spcAft>
                <a:spcPts val="0"/>
              </a:spcAft>
              <a:buFont typeface="Arial" panose="020B0604020202020204" pitchFamily="34" charset="0"/>
              <a:buNone/>
              <a:defRPr sz="1000"/>
            </a:lvl1pPr>
            <a:lvl2pPr marL="0" indent="0">
              <a:buNone/>
              <a:defRPr sz="1000"/>
            </a:lvl2pPr>
            <a:lvl3pPr marL="358775" indent="0">
              <a:buNone/>
              <a:defRPr sz="1000"/>
            </a:lvl3pPr>
            <a:lvl4pPr marL="715963" indent="0">
              <a:buNone/>
              <a:defRPr sz="1000"/>
            </a:lvl4pPr>
            <a:lvl5pPr marL="1074737" indent="0">
              <a:buNone/>
              <a:defRPr sz="1000"/>
            </a:lvl5pPr>
          </a:lstStyle>
          <a:p>
            <a:pPr lvl="0"/>
            <a:r>
              <a:rPr lang="en-US"/>
              <a:t>Click to edit Master text styles</a:t>
            </a:r>
          </a:p>
        </p:txBody>
      </p:sp>
      <p:grpSp>
        <p:nvGrpSpPr>
          <p:cNvPr id="11" name="Group 10"/>
          <p:cNvGrpSpPr/>
          <p:nvPr userDrawn="1"/>
        </p:nvGrpSpPr>
        <p:grpSpPr>
          <a:xfrm>
            <a:off x="9252585" y="7"/>
            <a:ext cx="3409950" cy="6740307"/>
            <a:chOff x="9252585" y="0"/>
            <a:chExt cx="3409950" cy="6740307"/>
          </a:xfrm>
        </p:grpSpPr>
        <p:sp>
          <p:nvSpPr>
            <p:cNvPr id="12" name="TextBox 11"/>
            <p:cNvSpPr txBox="1"/>
            <p:nvPr userDrawn="1"/>
          </p:nvSpPr>
          <p:spPr>
            <a:xfrm>
              <a:off x="9252585" y="0"/>
              <a:ext cx="3409950" cy="6740307"/>
            </a:xfrm>
            <a:prstGeom prst="rect">
              <a:avLst/>
            </a:prstGeom>
            <a:solidFill>
              <a:schemeClr val="accent2"/>
            </a:solidFill>
          </p:spPr>
          <p:txBody>
            <a:bodyPr wrap="square" rtlCol="0">
              <a:spAutoFit/>
            </a:bodyPr>
            <a:lstStyle/>
            <a:p>
              <a:pPr defTabSz="914400"/>
              <a:r>
                <a:rPr lang="en-AU" sz="1200" b="1" dirty="0">
                  <a:solidFill>
                    <a:srgbClr val="FFFFFF"/>
                  </a:solidFill>
                </a:rPr>
                <a:t>INSTRUCTIONS FOR CHANGING </a:t>
              </a:r>
              <a:br>
                <a:rPr lang="en-AU" sz="1200" b="1" dirty="0">
                  <a:solidFill>
                    <a:srgbClr val="FFFFFF"/>
                  </a:solidFill>
                </a:rPr>
              </a:br>
              <a:r>
                <a:rPr lang="en-AU" sz="1200" b="1" dirty="0">
                  <a:solidFill>
                    <a:srgbClr val="FFFFFF"/>
                  </a:solidFill>
                </a:rPr>
                <a:t>COVER IMAGES:</a:t>
              </a:r>
            </a:p>
            <a:p>
              <a:pPr marL="285750" indent="-285750" defTabSz="914400">
                <a:buFont typeface="Arial" panose="020B0604020202020204" pitchFamily="34" charset="0"/>
                <a:buChar char="•"/>
              </a:pPr>
              <a:endParaRPr lang="en-AU" sz="1000" dirty="0">
                <a:solidFill>
                  <a:srgbClr val="FFFFFF"/>
                </a:solidFill>
                <a:latin typeface="Segoe UI Semibold" panose="020B0702040204020203" pitchFamily="34" charset="0"/>
              </a:endParaRPr>
            </a:p>
            <a:p>
              <a:pPr marL="285750" indent="-285750" defTabSz="914400">
                <a:buFont typeface="+mj-lt"/>
                <a:buAutoNum type="arabicPeriod"/>
              </a:pPr>
              <a:r>
                <a:rPr lang="en-AU" sz="1000" dirty="0">
                  <a:solidFill>
                    <a:srgbClr val="FFFFFF"/>
                  </a:solidFill>
                  <a:latin typeface="Segoe UI Semibold" panose="020B0702040204020203" pitchFamily="34" charset="0"/>
                </a:rPr>
                <a:t>Select both images by holding down </a:t>
              </a:r>
              <a:br>
                <a:rPr lang="en-AU" sz="1000" dirty="0">
                  <a:solidFill>
                    <a:srgbClr val="FFFFFF"/>
                  </a:solidFill>
                  <a:latin typeface="Segoe UI Semibold" panose="020B0702040204020203" pitchFamily="34" charset="0"/>
                </a:rPr>
              </a:br>
              <a:r>
                <a:rPr lang="en-AU" sz="1000" dirty="0">
                  <a:solidFill>
                    <a:srgbClr val="FFFFFF"/>
                  </a:solidFill>
                  <a:latin typeface="Segoe UI Semibold" panose="020B0702040204020203" pitchFamily="34" charset="0"/>
                </a:rPr>
                <a:t>the ‘Ctrl’ button</a:t>
              </a:r>
            </a:p>
            <a:p>
              <a:pPr marL="285750" indent="-285750" defTabSz="914400">
                <a:buFont typeface="+mj-lt"/>
                <a:buAutoNum type="arabicPeriod"/>
              </a:pPr>
              <a:r>
                <a:rPr lang="en-AU" sz="1000" dirty="0">
                  <a:solidFill>
                    <a:srgbClr val="FFFFFF"/>
                  </a:solidFill>
                  <a:latin typeface="Segoe UI Semibold" panose="020B0702040204020203" pitchFamily="34" charset="0"/>
                </a:rPr>
                <a:t>Go to </a:t>
              </a:r>
              <a:r>
                <a:rPr lang="en-AU" sz="1000" b="1" dirty="0">
                  <a:solidFill>
                    <a:srgbClr val="00AEEF"/>
                  </a:solidFill>
                </a:rPr>
                <a:t>DRAWING TOOLS</a:t>
              </a:r>
            </a:p>
            <a:p>
              <a:pPr marL="285750" indent="-285750" defTabSz="914400">
                <a:buFont typeface="+mj-lt"/>
                <a:buAutoNum type="arabicPeriod"/>
              </a:pPr>
              <a:r>
                <a:rPr lang="en-AU" sz="1000" dirty="0">
                  <a:solidFill>
                    <a:srgbClr val="FFFFFF"/>
                  </a:solidFill>
                  <a:latin typeface="Segoe UI Semibold" panose="020B0702040204020203" pitchFamily="34" charset="0"/>
                </a:rPr>
                <a:t>Click the arrow next to </a:t>
              </a:r>
              <a:r>
                <a:rPr lang="en-AU" sz="1000" b="1" dirty="0">
                  <a:solidFill>
                    <a:srgbClr val="00AEEF"/>
                  </a:solidFill>
                </a:rPr>
                <a:t>SHAPE FILL</a:t>
              </a:r>
            </a:p>
            <a:p>
              <a:pPr marL="285750" indent="-285750" defTabSz="914400">
                <a:buFont typeface="+mj-lt"/>
                <a:buAutoNum type="arabicPeriod"/>
              </a:pPr>
              <a:r>
                <a:rPr lang="en-AU" sz="1000" dirty="0">
                  <a:solidFill>
                    <a:srgbClr val="FFFFFF"/>
                  </a:solidFill>
                  <a:latin typeface="Segoe UI Semibold" panose="020B0702040204020203" pitchFamily="34" charset="0"/>
                </a:rPr>
                <a:t>Click </a:t>
              </a:r>
              <a:r>
                <a:rPr lang="en-AU" sz="1000" b="1" dirty="0">
                  <a:solidFill>
                    <a:srgbClr val="00AEEF"/>
                  </a:solidFill>
                </a:rPr>
                <a:t>PICTURE</a:t>
              </a:r>
            </a:p>
            <a:p>
              <a:pPr marL="285750" indent="-285750" defTabSz="914400">
                <a:buFont typeface="+mj-lt"/>
                <a:buAutoNum type="arabicPeriod"/>
              </a:pPr>
              <a:r>
                <a:rPr lang="en-AU" sz="1000" dirty="0">
                  <a:solidFill>
                    <a:srgbClr val="FFFFFF"/>
                  </a:solidFill>
                  <a:latin typeface="Segoe UI Semibold" panose="020B0702040204020203" pitchFamily="34" charset="0"/>
                </a:rPr>
                <a:t>Locate the folder that contains the picture you want to use and click </a:t>
              </a:r>
              <a:r>
                <a:rPr lang="en-AU" sz="1000" b="1" dirty="0">
                  <a:solidFill>
                    <a:srgbClr val="00AEEF"/>
                  </a:solidFill>
                </a:rPr>
                <a:t>INSERT</a:t>
              </a:r>
            </a:p>
            <a:p>
              <a:pPr marL="285750" indent="-285750" defTabSz="914400">
                <a:buFont typeface="+mj-lt"/>
                <a:buAutoNum type="arabicPeriod"/>
              </a:pPr>
              <a:endParaRPr lang="en-AU" sz="1000" dirty="0">
                <a:solidFill>
                  <a:srgbClr val="FFFFFF"/>
                </a:solidFill>
                <a:latin typeface="Segoe UI Semibold" panose="020B0702040204020203" pitchFamily="34" charset="0"/>
              </a:endParaRPr>
            </a:p>
            <a:p>
              <a:pPr marL="285750" indent="-285750" defTabSz="914400">
                <a:buFont typeface="+mj-lt"/>
                <a:buAutoNum type="arabicPeriod"/>
              </a:pPr>
              <a:endParaRPr lang="en-AU" sz="1000" dirty="0">
                <a:solidFill>
                  <a:srgbClr val="FFFFFF"/>
                </a:solidFill>
                <a:latin typeface="Segoe UI Semibold" panose="020B0702040204020203" pitchFamily="34" charset="0"/>
              </a:endParaRPr>
            </a:p>
            <a:p>
              <a:pPr marL="285750" indent="-285750" defTabSz="914400">
                <a:buFont typeface="+mj-lt"/>
                <a:buAutoNum type="arabicPeriod"/>
              </a:pPr>
              <a:endParaRPr lang="en-AU" sz="1000" dirty="0">
                <a:solidFill>
                  <a:srgbClr val="FFFFFF"/>
                </a:solidFill>
                <a:latin typeface="Segoe UI Semibold" panose="020B0702040204020203" pitchFamily="34" charset="0"/>
              </a:endParaRPr>
            </a:p>
            <a:p>
              <a:pPr marL="285750" indent="-285750" defTabSz="914400">
                <a:buFont typeface="+mj-lt"/>
                <a:buAutoNum type="arabicPeriod"/>
              </a:pPr>
              <a:endParaRPr lang="en-AU" sz="1000" dirty="0">
                <a:solidFill>
                  <a:srgbClr val="FFFFFF"/>
                </a:solidFill>
                <a:latin typeface="Segoe UI Semibold" panose="020B0702040204020203" pitchFamily="34" charset="0"/>
              </a:endParaRPr>
            </a:p>
            <a:p>
              <a:pPr marL="285750" indent="-285750" defTabSz="914400">
                <a:buFont typeface="+mj-lt"/>
                <a:buAutoNum type="arabicPeriod"/>
              </a:pPr>
              <a:endParaRPr lang="en-AU" sz="1000" dirty="0">
                <a:solidFill>
                  <a:srgbClr val="FFFFFF"/>
                </a:solidFill>
                <a:latin typeface="Segoe UI Semibold" panose="020B0702040204020203" pitchFamily="34" charset="0"/>
              </a:endParaRPr>
            </a:p>
            <a:p>
              <a:pPr marL="285750" indent="-285750" defTabSz="914400">
                <a:buFont typeface="+mj-lt"/>
                <a:buAutoNum type="arabicPeriod"/>
              </a:pPr>
              <a:endParaRPr lang="en-AU" sz="1000" dirty="0">
                <a:solidFill>
                  <a:srgbClr val="FFFFFF"/>
                </a:solidFill>
                <a:latin typeface="Segoe UI Semibold" panose="020B0702040204020203" pitchFamily="34" charset="0"/>
              </a:endParaRPr>
            </a:p>
            <a:p>
              <a:pPr defTabSz="914400">
                <a:buFont typeface="+mj-lt"/>
                <a:buNone/>
              </a:pPr>
              <a:endParaRPr lang="en-AU" sz="1000" dirty="0">
                <a:solidFill>
                  <a:srgbClr val="FFFFFF"/>
                </a:solidFill>
                <a:latin typeface="Segoe UI Semibold" panose="020B0702040204020203" pitchFamily="34" charset="0"/>
              </a:endParaRPr>
            </a:p>
            <a:p>
              <a:pPr marL="285750" indent="-285750" defTabSz="914400">
                <a:buFont typeface="+mj-lt"/>
                <a:buAutoNum type="arabicPeriod"/>
              </a:pPr>
              <a:endParaRPr lang="en-AU" sz="1000" dirty="0">
                <a:solidFill>
                  <a:srgbClr val="FFFFFF"/>
                </a:solidFill>
                <a:latin typeface="Segoe UI Semibold" panose="020B0702040204020203" pitchFamily="34" charset="0"/>
              </a:endParaRPr>
            </a:p>
            <a:p>
              <a:pPr marL="285750" indent="-285750" defTabSz="914400">
                <a:buFont typeface="+mj-lt"/>
                <a:buAutoNum type="arabicPeriod"/>
              </a:pPr>
              <a:endParaRPr lang="en-AU" sz="1000" dirty="0">
                <a:solidFill>
                  <a:srgbClr val="FFFFFF"/>
                </a:solidFill>
                <a:latin typeface="Segoe UI Semibold" panose="020B0702040204020203" pitchFamily="34" charset="0"/>
              </a:endParaRPr>
            </a:p>
            <a:p>
              <a:pPr marL="285750" indent="-285750" defTabSz="914400">
                <a:buFont typeface="Arial" panose="020B0604020202020204" pitchFamily="34" charset="0"/>
                <a:buChar char="•"/>
              </a:pPr>
              <a:endParaRPr lang="en-AU" sz="1000" dirty="0">
                <a:solidFill>
                  <a:srgbClr val="FFFFFF"/>
                </a:solidFill>
                <a:latin typeface="Segoe UI Semibold" panose="020B0702040204020203" pitchFamily="34" charset="0"/>
              </a:endParaRPr>
            </a:p>
            <a:p>
              <a:pPr defTabSz="914400">
                <a:buFont typeface="Arial" panose="020B0604020202020204" pitchFamily="34" charset="0"/>
                <a:buNone/>
              </a:pPr>
              <a:r>
                <a:rPr lang="en-AU" sz="1200" b="1" dirty="0">
                  <a:solidFill>
                    <a:srgbClr val="FFFFFF"/>
                  </a:solidFill>
                </a:rPr>
                <a:t>INSTRUCTIONS TO RESIZE AND REPOSITION YOUR IMAGE:</a:t>
              </a:r>
            </a:p>
            <a:p>
              <a:pPr defTabSz="914400">
                <a:buFont typeface="Arial" panose="020B0604020202020204" pitchFamily="34" charset="0"/>
                <a:buNone/>
              </a:pPr>
              <a:endParaRPr lang="en-AU" sz="1000" b="1" dirty="0">
                <a:solidFill>
                  <a:srgbClr val="FFFFFF"/>
                </a:solidFill>
              </a:endParaRPr>
            </a:p>
            <a:p>
              <a:pPr marL="285750" indent="-285750" defTabSz="914400">
                <a:buFont typeface="+mj-lt"/>
                <a:buAutoNum type="arabicPeriod"/>
                <a:defRPr/>
              </a:pPr>
              <a:r>
                <a:rPr lang="en-AU" sz="1000" dirty="0">
                  <a:solidFill>
                    <a:srgbClr val="FFFFFF"/>
                  </a:solidFill>
                  <a:latin typeface="Segoe UI Semibold" panose="020B0702040204020203" pitchFamily="34" charset="0"/>
                </a:rPr>
                <a:t>Click the image you want to edit</a:t>
              </a:r>
            </a:p>
            <a:p>
              <a:pPr marL="285750" indent="-285750" defTabSz="914400">
                <a:buFont typeface="+mj-lt"/>
                <a:buAutoNum type="arabicPeriod"/>
                <a:defRPr/>
              </a:pPr>
              <a:r>
                <a:rPr lang="en-AU" sz="1000" dirty="0">
                  <a:solidFill>
                    <a:srgbClr val="FFFFFF"/>
                  </a:solidFill>
                  <a:latin typeface="Segoe UI Semibold" panose="020B0702040204020203" pitchFamily="34" charset="0"/>
                </a:rPr>
                <a:t>Go to </a:t>
              </a:r>
              <a:r>
                <a:rPr lang="en-AU" sz="1000" b="1" dirty="0">
                  <a:solidFill>
                    <a:srgbClr val="00AEEF"/>
                  </a:solidFill>
                </a:rPr>
                <a:t>PICTURE TOOLS </a:t>
              </a:r>
            </a:p>
            <a:p>
              <a:pPr marL="285750" indent="-285750" defTabSz="914400">
                <a:buFont typeface="+mj-lt"/>
                <a:buAutoNum type="arabicPeriod"/>
                <a:defRPr/>
              </a:pPr>
              <a:r>
                <a:rPr lang="en-AU" sz="1000" dirty="0">
                  <a:solidFill>
                    <a:srgbClr val="FFFFFF"/>
                  </a:solidFill>
                  <a:latin typeface="Segoe UI Semibold" panose="020B0702040204020203" pitchFamily="34" charset="0"/>
                </a:rPr>
                <a:t>To maintain the original size and format </a:t>
              </a:r>
              <a:br>
                <a:rPr lang="en-AU" sz="1000" dirty="0">
                  <a:solidFill>
                    <a:srgbClr val="FFFFFF"/>
                  </a:solidFill>
                  <a:latin typeface="Segoe UI Semibold" panose="020B0702040204020203" pitchFamily="34" charset="0"/>
                </a:rPr>
              </a:br>
              <a:r>
                <a:rPr lang="en-AU" sz="1000" dirty="0">
                  <a:solidFill>
                    <a:srgbClr val="FFFFFF"/>
                  </a:solidFill>
                  <a:latin typeface="Segoe UI Semibold" panose="020B0702040204020203" pitchFamily="34" charset="0"/>
                </a:rPr>
                <a:t>of the image, click the arrow under </a:t>
              </a:r>
              <a:r>
                <a:rPr lang="en-AU" sz="1000" b="1" dirty="0">
                  <a:solidFill>
                    <a:srgbClr val="00AEEF"/>
                  </a:solidFill>
                </a:rPr>
                <a:t>CROP</a:t>
              </a:r>
              <a:r>
                <a:rPr lang="en-AU" sz="1000" dirty="0">
                  <a:solidFill>
                    <a:srgbClr val="FFFFFF"/>
                  </a:solidFill>
                  <a:latin typeface="Segoe UI Semibold" panose="020B0702040204020203" pitchFamily="34" charset="0"/>
                </a:rPr>
                <a:t> and click </a:t>
              </a:r>
              <a:r>
                <a:rPr lang="en-AU" sz="1000" b="1" dirty="0">
                  <a:solidFill>
                    <a:srgbClr val="00AEEF"/>
                  </a:solidFill>
                </a:rPr>
                <a:t>FIT</a:t>
              </a:r>
            </a:p>
            <a:p>
              <a:pPr marL="285750" indent="-285750" defTabSz="914400">
                <a:buFont typeface="+mj-lt"/>
                <a:buAutoNum type="arabicPeriod"/>
                <a:defRPr/>
              </a:pPr>
              <a:endParaRPr lang="en-AU" sz="1200" b="1" dirty="0">
                <a:solidFill>
                  <a:srgbClr val="00AEEF"/>
                </a:solidFill>
              </a:endParaRPr>
            </a:p>
            <a:p>
              <a:pPr marL="285750" indent="-285750" defTabSz="914400">
                <a:buFont typeface="+mj-lt"/>
                <a:buAutoNum type="arabicPeriod"/>
                <a:defRPr/>
              </a:pPr>
              <a:endParaRPr lang="en-AU" sz="1200" b="1" dirty="0">
                <a:solidFill>
                  <a:srgbClr val="00AEEF"/>
                </a:solidFill>
              </a:endParaRPr>
            </a:p>
            <a:p>
              <a:pPr marL="285750" indent="-285750" defTabSz="914400">
                <a:buFont typeface="+mj-lt"/>
                <a:buAutoNum type="arabicPeriod"/>
                <a:defRPr/>
              </a:pPr>
              <a:endParaRPr lang="en-AU" sz="1200" b="1" dirty="0">
                <a:solidFill>
                  <a:srgbClr val="00AEEF"/>
                </a:solidFill>
              </a:endParaRPr>
            </a:p>
            <a:p>
              <a:pPr marL="285750" indent="-285750" defTabSz="914400">
                <a:buFont typeface="+mj-lt"/>
                <a:buAutoNum type="arabicPeriod"/>
                <a:defRPr/>
              </a:pPr>
              <a:endParaRPr lang="en-AU" sz="1200" b="1" dirty="0">
                <a:solidFill>
                  <a:srgbClr val="00AEEF"/>
                </a:solidFill>
              </a:endParaRPr>
            </a:p>
            <a:p>
              <a:pPr marL="285750" indent="-285750" defTabSz="914400">
                <a:buFont typeface="+mj-lt"/>
                <a:buAutoNum type="arabicPeriod"/>
                <a:defRPr/>
              </a:pPr>
              <a:endParaRPr lang="en-AU" sz="1200" b="1" dirty="0">
                <a:solidFill>
                  <a:srgbClr val="00AEEF"/>
                </a:solidFill>
              </a:endParaRPr>
            </a:p>
            <a:p>
              <a:pPr marL="285750" indent="-285750" defTabSz="914400">
                <a:buFont typeface="+mj-lt"/>
                <a:buAutoNum type="arabicPeriod"/>
                <a:defRPr/>
              </a:pPr>
              <a:endParaRPr lang="en-AU" sz="1200" b="1" dirty="0">
                <a:solidFill>
                  <a:srgbClr val="00AEEF"/>
                </a:solidFill>
              </a:endParaRPr>
            </a:p>
            <a:p>
              <a:pPr marL="285750" indent="-285750" defTabSz="914400">
                <a:buFont typeface="+mj-lt"/>
                <a:buAutoNum type="arabicPeriod"/>
                <a:defRPr/>
              </a:pPr>
              <a:endParaRPr lang="en-AU" sz="1200" b="1" dirty="0">
                <a:solidFill>
                  <a:srgbClr val="00AEEF"/>
                </a:solidFill>
              </a:endParaRPr>
            </a:p>
            <a:p>
              <a:pPr marL="285750" indent="-285750" defTabSz="914400">
                <a:buFont typeface="+mj-lt"/>
                <a:buAutoNum type="arabicPeriod"/>
                <a:defRPr/>
              </a:pPr>
              <a:r>
                <a:rPr lang="en-AU" sz="1000" dirty="0">
                  <a:solidFill>
                    <a:srgbClr val="FFFFFF"/>
                  </a:solidFill>
                  <a:latin typeface="Segoe UI Semibold" panose="020B0702040204020203" pitchFamily="34" charset="0"/>
                </a:rPr>
                <a:t>To reposition or resize your image, click </a:t>
              </a:r>
              <a:r>
                <a:rPr lang="en-AU" sz="1000" b="1" dirty="0">
                  <a:solidFill>
                    <a:srgbClr val="00AEEF"/>
                  </a:solidFill>
                </a:rPr>
                <a:t>CROP</a:t>
              </a:r>
              <a:r>
                <a:rPr lang="en-AU" sz="1000" dirty="0">
                  <a:solidFill>
                    <a:srgbClr val="FFFFFF"/>
                  </a:solidFill>
                  <a:latin typeface="Segoe UI Semibold" panose="020B0702040204020203" pitchFamily="34" charset="0"/>
                </a:rPr>
                <a:t>, and use the circles on the edge of the image</a:t>
              </a:r>
            </a:p>
            <a:p>
              <a:pPr marL="285750" indent="-285750" defTabSz="914400">
                <a:buFont typeface="+mj-lt"/>
                <a:buAutoNum type="arabicPeriod"/>
                <a:defRPr/>
              </a:pPr>
              <a:endParaRPr lang="en-AU" sz="1000" dirty="0">
                <a:solidFill>
                  <a:srgbClr val="FFFFFF"/>
                </a:solidFill>
                <a:latin typeface="Segoe UI Semibold" panose="020B0702040204020203" pitchFamily="34" charset="0"/>
              </a:endParaRPr>
            </a:p>
            <a:p>
              <a:pPr marL="285750" indent="-285750" defTabSz="914400">
                <a:buFont typeface="+mj-lt"/>
                <a:buAutoNum type="arabicPeriod"/>
                <a:defRPr/>
              </a:pPr>
              <a:endParaRPr lang="en-AU" sz="1000" dirty="0">
                <a:solidFill>
                  <a:srgbClr val="FFFFFF"/>
                </a:solidFill>
                <a:latin typeface="Segoe UI Semibold" panose="020B0702040204020203" pitchFamily="34" charset="0"/>
              </a:endParaRPr>
            </a:p>
            <a:p>
              <a:pPr marL="285750" indent="-285750" defTabSz="914400">
                <a:buFont typeface="+mj-lt"/>
                <a:buAutoNum type="arabicPeriod"/>
                <a:defRPr/>
              </a:pPr>
              <a:endParaRPr lang="en-AU" sz="1000" dirty="0">
                <a:solidFill>
                  <a:srgbClr val="FFFFFF"/>
                </a:solidFill>
                <a:latin typeface="Segoe UI Semibold" panose="020B0702040204020203" pitchFamily="34" charset="0"/>
              </a:endParaRPr>
            </a:p>
            <a:p>
              <a:pPr marL="285750" indent="-285750" defTabSz="914400">
                <a:buFont typeface="+mj-lt"/>
                <a:buAutoNum type="arabicPeriod"/>
                <a:defRPr/>
              </a:pPr>
              <a:endParaRPr lang="en-AU" sz="1000" dirty="0">
                <a:solidFill>
                  <a:srgbClr val="FFFFFF"/>
                </a:solidFill>
                <a:latin typeface="Segoe UI Semibold" panose="020B0702040204020203" pitchFamily="34" charset="0"/>
              </a:endParaRPr>
            </a:p>
          </p:txBody>
        </p:sp>
        <p:pic>
          <p:nvPicPr>
            <p:cNvPr id="14" name="Picture 13"/>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9629774" y="1683234"/>
              <a:ext cx="1962152" cy="1325024"/>
            </a:xfrm>
            <a:prstGeom prst="rect">
              <a:avLst/>
            </a:prstGeom>
            <a:ln>
              <a:noFill/>
            </a:ln>
            <a:extLst>
              <a:ext uri="{53640926-AAD7-44D8-BBD7-CCE9431645EC}">
                <a14:shadowObscured xmlns:a14="http://schemas.microsoft.com/office/drawing/2010/main"/>
              </a:ext>
            </a:extLst>
          </p:spPr>
        </p:pic>
        <p:pic>
          <p:nvPicPr>
            <p:cNvPr id="15" name="Picture 2"/>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9629774" y="4508500"/>
              <a:ext cx="849363" cy="1139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15"/>
            <p:cNvPicPr/>
            <p:nvPr userDrawn="1"/>
          </p:nvPicPr>
          <p:blipFill rotWithShape="1">
            <a:blip r:embed="rId9" cstate="email">
              <a:extLst>
                <a:ext uri="{28A0092B-C50C-407E-A947-70E740481C1C}">
                  <a14:useLocalDpi xmlns:a14="http://schemas.microsoft.com/office/drawing/2010/main"/>
                </a:ext>
              </a:extLst>
            </a:blip>
            <a:srcRect/>
            <a:stretch/>
          </p:blipFill>
          <p:spPr bwMode="auto">
            <a:xfrm>
              <a:off x="9629774" y="6089637"/>
              <a:ext cx="1508895" cy="558316"/>
            </a:xfrm>
            <a:prstGeom prst="rect">
              <a:avLst/>
            </a:prstGeom>
            <a:ln>
              <a:noFill/>
            </a:ln>
            <a:extLst>
              <a:ext uri="{53640926-AAD7-44D8-BBD7-CCE9431645EC}">
                <a14:shadowObscured xmlns:a14="http://schemas.microsoft.com/office/drawing/2010/main"/>
              </a:ext>
            </a:extLst>
          </p:spPr>
        </p:pic>
        <p:sp>
          <p:nvSpPr>
            <p:cNvPr id="19" name="Oval 18"/>
            <p:cNvSpPr/>
            <p:nvPr userDrawn="1"/>
          </p:nvSpPr>
          <p:spPr>
            <a:xfrm>
              <a:off x="9896475" y="6276596"/>
              <a:ext cx="582662" cy="21602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AU" sz="1800" dirty="0">
                <a:solidFill>
                  <a:srgbClr val="FFFFFF"/>
                </a:solidFill>
              </a:endParaRPr>
            </a:p>
          </p:txBody>
        </p:sp>
      </p:grpSp>
    </p:spTree>
    <p:extLst>
      <p:ext uri="{BB962C8B-B14F-4D97-AF65-F5344CB8AC3E}">
        <p14:creationId xmlns:p14="http://schemas.microsoft.com/office/powerpoint/2010/main" val="3090981750"/>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25_Title and Text">
    <p:spTree>
      <p:nvGrpSpPr>
        <p:cNvPr id="1" name=""/>
        <p:cNvGrpSpPr/>
        <p:nvPr/>
      </p:nvGrpSpPr>
      <p:grpSpPr>
        <a:xfrm>
          <a:off x="0" y="0"/>
          <a:ext cx="0" cy="0"/>
          <a:chOff x="0" y="0"/>
          <a:chExt cx="0" cy="0"/>
        </a:xfrm>
      </p:grpSpPr>
      <p:sp>
        <p:nvSpPr>
          <p:cNvPr id="15" name="Title 14"/>
          <p:cNvSpPr>
            <a:spLocks noGrp="1"/>
          </p:cNvSpPr>
          <p:nvPr>
            <p:ph type="title"/>
          </p:nvPr>
        </p:nvSpPr>
        <p:spPr bwMode="gray"/>
        <p:txBody>
          <a:bodyPr/>
          <a:lstStyle/>
          <a:p>
            <a:pPr lvl="0"/>
            <a:r>
              <a:rPr lang="en-US" dirty="0"/>
              <a:t>Click to edit Master title style</a:t>
            </a:r>
            <a:endParaRPr lang="en-GB" dirty="0"/>
          </a:p>
        </p:txBody>
      </p:sp>
      <p:sp>
        <p:nvSpPr>
          <p:cNvPr id="6" name="Text Placeholder 5"/>
          <p:cNvSpPr>
            <a:spLocks noGrp="1"/>
          </p:cNvSpPr>
          <p:nvPr>
            <p:ph type="body" sz="quarter" idx="10"/>
          </p:nvPr>
        </p:nvSpPr>
        <p:spPr bwMode="gray">
          <a:xfrm>
            <a:off x="393077" y="1534993"/>
            <a:ext cx="8354538" cy="4506435"/>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344215909"/>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000"/>
            </a:lvl1pPr>
          </a:lstStyle>
          <a:p>
            <a:r>
              <a:rPr lang="en-US" dirty="0"/>
              <a:t>Click to edit Master title style</a:t>
            </a:r>
          </a:p>
        </p:txBody>
      </p:sp>
      <p:sp>
        <p:nvSpPr>
          <p:cNvPr id="3" name="Rectangle 5"/>
          <p:cNvSpPr>
            <a:spLocks noGrp="1" noChangeArrowheads="1"/>
          </p:cNvSpPr>
          <p:nvPr>
            <p:ph type="sldNum" sz="quarter" idx="10"/>
          </p:nvPr>
        </p:nvSpPr>
        <p:spPr>
          <a:xfrm>
            <a:off x="7308304" y="6525345"/>
            <a:ext cx="1512168" cy="196131"/>
          </a:xfrm>
          <a:prstGeom prst="rect">
            <a:avLst/>
          </a:prstGeom>
          <a:ln/>
        </p:spPr>
        <p:txBody>
          <a:bodyPr/>
          <a:lstStyle>
            <a:lvl1pPr>
              <a:defRPr/>
            </a:lvl1pPr>
          </a:lstStyle>
          <a:p>
            <a:pPr>
              <a:defRPr/>
            </a:pPr>
            <a:fld id="{ED6B66F1-1624-432A-86ED-F30EBCDCEC66}" type="slidenum">
              <a:rPr lang="en-US">
                <a:solidFill>
                  <a:srgbClr val="FFFFFF">
                    <a:lumMod val="50000"/>
                  </a:srgbClr>
                </a:solidFill>
              </a:rPr>
              <a:pPr>
                <a:defRPr/>
              </a:pPr>
              <a:t>‹#›</a:t>
            </a:fld>
            <a:endParaRPr lang="en-US" dirty="0">
              <a:solidFill>
                <a:srgbClr val="FFFFFF">
                  <a:lumMod val="50000"/>
                </a:srgbClr>
              </a:solidFill>
            </a:endParaRPr>
          </a:p>
        </p:txBody>
      </p:sp>
    </p:spTree>
    <p:extLst>
      <p:ext uri="{BB962C8B-B14F-4D97-AF65-F5344CB8AC3E}">
        <p14:creationId xmlns:p14="http://schemas.microsoft.com/office/powerpoint/2010/main" val="1854932327"/>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61306" y="1614246"/>
            <a:ext cx="3353930" cy="2701817"/>
          </a:xfrm>
          <a:prstGeom prst="rect">
            <a:avLst/>
          </a:prstGeom>
        </p:spPr>
        <p:txBody>
          <a:bodyPr/>
          <a:lstStyle/>
          <a:p>
            <a:endParaRPr lang="en-AU" dirty="0"/>
          </a:p>
        </p:txBody>
      </p:sp>
      <p:sp>
        <p:nvSpPr>
          <p:cNvPr id="2" name="Title 1"/>
          <p:cNvSpPr>
            <a:spLocks noGrp="1"/>
          </p:cNvSpPr>
          <p:nvPr>
            <p:ph type="title"/>
          </p:nvPr>
        </p:nvSpPr>
        <p:spPr>
          <a:xfrm>
            <a:off x="605740" y="1"/>
            <a:ext cx="8160439" cy="836712"/>
          </a:xfrm>
        </p:spPr>
        <p:txBody>
          <a:bodyPr/>
          <a:lstStyle/>
          <a:p>
            <a:r>
              <a:rPr lang="en-US" dirty="0"/>
              <a:t>Click to edit Master title style</a:t>
            </a:r>
          </a:p>
        </p:txBody>
      </p:sp>
      <p:sp>
        <p:nvSpPr>
          <p:cNvPr id="3" name="Content Placeholder 2"/>
          <p:cNvSpPr>
            <a:spLocks noGrp="1"/>
          </p:cNvSpPr>
          <p:nvPr>
            <p:ph idx="1"/>
          </p:nvPr>
        </p:nvSpPr>
        <p:spPr>
          <a:xfrm>
            <a:off x="3851920" y="1556792"/>
            <a:ext cx="4896544" cy="4608512"/>
          </a:xfrm>
          <a:prstGeom prst="rect">
            <a:avLst/>
          </a:prstGeom>
        </p:spPr>
        <p:txBody>
          <a:bodyPr>
            <a:normAutofit/>
          </a:bodyPr>
          <a:lstStyle>
            <a:lvl1pPr marL="0" indent="0">
              <a:buFont typeface="Arial" panose="020B0604020202020204" pitchFamily="34" charset="0"/>
              <a:buNone/>
              <a:defRPr sz="1800">
                <a:latin typeface="Franklin Gothic Book" panose="020B0503020102020204" pitchFamily="34" charset="0"/>
              </a:defRPr>
            </a:lvl1pPr>
            <a:lvl2pPr marL="361950" indent="0">
              <a:buNone/>
              <a:defRPr sz="1800">
                <a:latin typeface="Franklin Gothic Book" panose="020B0503020102020204" pitchFamily="34" charset="0"/>
              </a:defRPr>
            </a:lvl2pPr>
            <a:lvl3pPr marL="642937" indent="0">
              <a:buNone/>
              <a:defRPr sz="1800">
                <a:latin typeface="Franklin Gothic Book" panose="020B0503020102020204" pitchFamily="34" charset="0"/>
              </a:defRPr>
            </a:lvl3pPr>
            <a:lvl4pPr marL="903287" indent="0">
              <a:buNone/>
              <a:defRPr sz="1800">
                <a:latin typeface="Franklin Gothic Book" panose="020B0503020102020204" pitchFamily="34" charset="0"/>
              </a:defRPr>
            </a:lvl4pPr>
            <a:lvl5pPr marL="1174750" indent="0">
              <a:buNone/>
              <a:defRPr sz="1800">
                <a:latin typeface="Franklin Gothic Book" panose="020B05030201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3"/>
          <p:cNvSpPr>
            <a:spLocks noGrp="1"/>
          </p:cNvSpPr>
          <p:nvPr>
            <p:ph type="sldNum" sz="quarter" idx="4"/>
          </p:nvPr>
        </p:nvSpPr>
        <p:spPr>
          <a:xfrm>
            <a:off x="7236296" y="6525345"/>
            <a:ext cx="1512168" cy="196131"/>
          </a:xfrm>
          <a:prstGeom prst="rect">
            <a:avLst/>
          </a:prstGeom>
        </p:spPr>
        <p:txBody>
          <a:bodyPr/>
          <a:lstStyle>
            <a:lvl1pPr algn="r">
              <a:defRPr sz="800" b="0">
                <a:solidFill>
                  <a:schemeClr val="accent6"/>
                </a:solidFill>
                <a:latin typeface="Franklin Gothic Medium" panose="020B0603020102020204" pitchFamily="34" charset="0"/>
                <a:cs typeface="Arial" panose="020B0604020202020204" pitchFamily="34" charset="0"/>
              </a:defRPr>
            </a:lvl1pPr>
          </a:lstStyle>
          <a:p>
            <a:r>
              <a:rPr lang="en-AU" dirty="0">
                <a:solidFill>
                  <a:srgbClr val="005F83"/>
                </a:solidFill>
              </a:rPr>
              <a:t> Advisian  / </a:t>
            </a:r>
            <a:fld id="{CFD780AD-5876-4BCA-80DC-E96648A7269F}" type="slidenum">
              <a:rPr lang="en-AU" smtClean="0">
                <a:solidFill>
                  <a:srgbClr val="005F83"/>
                </a:solidFill>
              </a:rPr>
              <a:pPr/>
              <a:t>‹#›</a:t>
            </a:fld>
            <a:endParaRPr lang="en-AU" dirty="0">
              <a:solidFill>
                <a:srgbClr val="005F83"/>
              </a:solidFill>
            </a:endParaRPr>
          </a:p>
        </p:txBody>
      </p:sp>
      <p:sp>
        <p:nvSpPr>
          <p:cNvPr id="9" name="Freeform 8"/>
          <p:cNvSpPr/>
          <p:nvPr userDrawn="1"/>
        </p:nvSpPr>
        <p:spPr>
          <a:xfrm>
            <a:off x="2085975" y="1583807"/>
            <a:ext cx="1238250" cy="2781300"/>
          </a:xfrm>
          <a:custGeom>
            <a:avLst/>
            <a:gdLst>
              <a:gd name="connsiteX0" fmla="*/ 1238250 w 1238250"/>
              <a:gd name="connsiteY0" fmla="*/ 0 h 2781300"/>
              <a:gd name="connsiteX1" fmla="*/ 0 w 1238250"/>
              <a:gd name="connsiteY1" fmla="*/ 2781300 h 2781300"/>
              <a:gd name="connsiteX2" fmla="*/ 1228725 w 1238250"/>
              <a:gd name="connsiteY2" fmla="*/ 2781300 h 2781300"/>
              <a:gd name="connsiteX3" fmla="*/ 1238250 w 1238250"/>
              <a:gd name="connsiteY3" fmla="*/ 0 h 2781300"/>
            </a:gdLst>
            <a:ahLst/>
            <a:cxnLst>
              <a:cxn ang="0">
                <a:pos x="connsiteX0" y="connsiteY0"/>
              </a:cxn>
              <a:cxn ang="0">
                <a:pos x="connsiteX1" y="connsiteY1"/>
              </a:cxn>
              <a:cxn ang="0">
                <a:pos x="connsiteX2" y="connsiteY2"/>
              </a:cxn>
              <a:cxn ang="0">
                <a:pos x="connsiteX3" y="connsiteY3"/>
              </a:cxn>
            </a:cxnLst>
            <a:rect l="l" t="t" r="r" b="b"/>
            <a:pathLst>
              <a:path w="1238250" h="2781300">
                <a:moveTo>
                  <a:pt x="1238250" y="0"/>
                </a:moveTo>
                <a:lnTo>
                  <a:pt x="0" y="2781300"/>
                </a:lnTo>
                <a:lnTo>
                  <a:pt x="1228725" y="2781300"/>
                </a:lnTo>
                <a:lnTo>
                  <a:pt x="1238250" y="0"/>
                </a:lnTo>
                <a:close/>
              </a:path>
            </a:pathLst>
          </a:cu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AU" sz="1800" dirty="0">
              <a:solidFill>
                <a:srgbClr val="FFFFFF"/>
              </a:solidFill>
            </a:endParaRPr>
          </a:p>
        </p:txBody>
      </p:sp>
    </p:spTree>
    <p:extLst>
      <p:ext uri="{BB962C8B-B14F-4D97-AF65-F5344CB8AC3E}">
        <p14:creationId xmlns:p14="http://schemas.microsoft.com/office/powerpoint/2010/main" val="3185731555"/>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2_Advisian title &amp; text 2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1336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91"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3726359651"/>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ver 4 - white">
    <p:bg>
      <p:bgPr>
        <a:solidFill>
          <a:schemeClr val="bg1"/>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hasCustomPrompt="1"/>
          </p:nvPr>
        </p:nvSpPr>
        <p:spPr>
          <a:xfrm>
            <a:off x="-74933" y="-76200"/>
            <a:ext cx="4618358" cy="6979468"/>
          </a:xfrm>
          <a:custGeom>
            <a:avLst/>
            <a:gdLst>
              <a:gd name="connsiteX0" fmla="*/ 0 w 4618144"/>
              <a:gd name="connsiteY0" fmla="*/ 0 h 6965950"/>
              <a:gd name="connsiteX1" fmla="*/ 4618144 w 4618144"/>
              <a:gd name="connsiteY1" fmla="*/ 0 h 6965950"/>
              <a:gd name="connsiteX2" fmla="*/ 4618144 w 4618144"/>
              <a:gd name="connsiteY2" fmla="*/ 6965950 h 6965950"/>
              <a:gd name="connsiteX3" fmla="*/ 0 w 4618144"/>
              <a:gd name="connsiteY3" fmla="*/ 6965950 h 6965950"/>
              <a:gd name="connsiteX4" fmla="*/ 0 w 4618144"/>
              <a:gd name="connsiteY4" fmla="*/ 0 h 6965950"/>
              <a:gd name="connsiteX0" fmla="*/ 0 w 4618144"/>
              <a:gd name="connsiteY0" fmla="*/ 6350 h 6972300"/>
              <a:gd name="connsiteX1" fmla="*/ 1954319 w 4618144"/>
              <a:gd name="connsiteY1" fmla="*/ 0 h 6972300"/>
              <a:gd name="connsiteX2" fmla="*/ 4618144 w 4618144"/>
              <a:gd name="connsiteY2" fmla="*/ 6350 h 6972300"/>
              <a:gd name="connsiteX3" fmla="*/ 4618144 w 4618144"/>
              <a:gd name="connsiteY3" fmla="*/ 6972300 h 6972300"/>
              <a:gd name="connsiteX4" fmla="*/ 0 w 4618144"/>
              <a:gd name="connsiteY4" fmla="*/ 6972300 h 6972300"/>
              <a:gd name="connsiteX5" fmla="*/ 0 w 4618144"/>
              <a:gd name="connsiteY5" fmla="*/ 6350 h 6972300"/>
              <a:gd name="connsiteX0" fmla="*/ 0 w 4618144"/>
              <a:gd name="connsiteY0" fmla="*/ 6350 h 6972300"/>
              <a:gd name="connsiteX1" fmla="*/ 716069 w 4618144"/>
              <a:gd name="connsiteY1" fmla="*/ 0 h 6972300"/>
              <a:gd name="connsiteX2" fmla="*/ 1954319 w 4618144"/>
              <a:gd name="connsiteY2" fmla="*/ 0 h 6972300"/>
              <a:gd name="connsiteX3" fmla="*/ 4618144 w 4618144"/>
              <a:gd name="connsiteY3" fmla="*/ 6350 h 6972300"/>
              <a:gd name="connsiteX4" fmla="*/ 4618144 w 4618144"/>
              <a:gd name="connsiteY4" fmla="*/ 6972300 h 6972300"/>
              <a:gd name="connsiteX5" fmla="*/ 0 w 4618144"/>
              <a:gd name="connsiteY5" fmla="*/ 6972300 h 6972300"/>
              <a:gd name="connsiteX6" fmla="*/ 0 w 4618144"/>
              <a:gd name="connsiteY6" fmla="*/ 6350 h 6972300"/>
              <a:gd name="connsiteX0" fmla="*/ 0 w 4618144"/>
              <a:gd name="connsiteY0" fmla="*/ 6350 h 6972300"/>
              <a:gd name="connsiteX1" fmla="*/ 620819 w 4618144"/>
              <a:gd name="connsiteY1" fmla="*/ 0 h 6972300"/>
              <a:gd name="connsiteX2" fmla="*/ 716069 w 4618144"/>
              <a:gd name="connsiteY2" fmla="*/ 0 h 6972300"/>
              <a:gd name="connsiteX3" fmla="*/ 1954319 w 4618144"/>
              <a:gd name="connsiteY3" fmla="*/ 0 h 6972300"/>
              <a:gd name="connsiteX4" fmla="*/ 4618144 w 4618144"/>
              <a:gd name="connsiteY4" fmla="*/ 6350 h 6972300"/>
              <a:gd name="connsiteX5" fmla="*/ 4618144 w 4618144"/>
              <a:gd name="connsiteY5" fmla="*/ 6972300 h 6972300"/>
              <a:gd name="connsiteX6" fmla="*/ 0 w 4618144"/>
              <a:gd name="connsiteY6" fmla="*/ 6972300 h 6972300"/>
              <a:gd name="connsiteX7" fmla="*/ 0 w 4618144"/>
              <a:gd name="connsiteY7" fmla="*/ 6350 h 6972300"/>
              <a:gd name="connsiteX0" fmla="*/ 7831 w 4625975"/>
              <a:gd name="connsiteY0" fmla="*/ 6350 h 6972300"/>
              <a:gd name="connsiteX1" fmla="*/ 628650 w 4625975"/>
              <a:gd name="connsiteY1" fmla="*/ 0 h 6972300"/>
              <a:gd name="connsiteX2" fmla="*/ 723900 w 4625975"/>
              <a:gd name="connsiteY2" fmla="*/ 0 h 6972300"/>
              <a:gd name="connsiteX3" fmla="*/ 1962150 w 4625975"/>
              <a:gd name="connsiteY3" fmla="*/ 0 h 6972300"/>
              <a:gd name="connsiteX4" fmla="*/ 4625975 w 4625975"/>
              <a:gd name="connsiteY4" fmla="*/ 6350 h 6972300"/>
              <a:gd name="connsiteX5" fmla="*/ 4625975 w 4625975"/>
              <a:gd name="connsiteY5" fmla="*/ 6972300 h 6972300"/>
              <a:gd name="connsiteX6" fmla="*/ 7831 w 4625975"/>
              <a:gd name="connsiteY6" fmla="*/ 6972300 h 6972300"/>
              <a:gd name="connsiteX7" fmla="*/ 0 w 4625975"/>
              <a:gd name="connsiteY7" fmla="*/ 1625600 h 6972300"/>
              <a:gd name="connsiteX8" fmla="*/ 7831 w 4625975"/>
              <a:gd name="connsiteY8"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46555 w 4964699"/>
              <a:gd name="connsiteY6" fmla="*/ 6972300 h 6972300"/>
              <a:gd name="connsiteX7" fmla="*/ 332375 w 4964699"/>
              <a:gd name="connsiteY7" fmla="*/ 1841500 h 6972300"/>
              <a:gd name="connsiteX8" fmla="*/ 338724 w 4964699"/>
              <a:gd name="connsiteY8" fmla="*/ 1625600 h 6972300"/>
              <a:gd name="connsiteX9" fmla="*/ 346555 w 4964699"/>
              <a:gd name="connsiteY9"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2288175 w 4964699"/>
              <a:gd name="connsiteY6" fmla="*/ 6965950 h 6972300"/>
              <a:gd name="connsiteX7" fmla="*/ 346555 w 4964699"/>
              <a:gd name="connsiteY7" fmla="*/ 6972300 h 6972300"/>
              <a:gd name="connsiteX8" fmla="*/ 332375 w 4964699"/>
              <a:gd name="connsiteY8" fmla="*/ 1841500 h 6972300"/>
              <a:gd name="connsiteX9" fmla="*/ 338724 w 4964699"/>
              <a:gd name="connsiteY9" fmla="*/ 1625600 h 6972300"/>
              <a:gd name="connsiteX10" fmla="*/ 346555 w 4964699"/>
              <a:gd name="connsiteY10"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2389775 w 4964699"/>
              <a:gd name="connsiteY6" fmla="*/ 6959600 h 6972300"/>
              <a:gd name="connsiteX7" fmla="*/ 2288175 w 4964699"/>
              <a:gd name="connsiteY7" fmla="*/ 6965950 h 6972300"/>
              <a:gd name="connsiteX8" fmla="*/ 346555 w 4964699"/>
              <a:gd name="connsiteY8" fmla="*/ 6972300 h 6972300"/>
              <a:gd name="connsiteX9" fmla="*/ 332375 w 4964699"/>
              <a:gd name="connsiteY9" fmla="*/ 1841500 h 6972300"/>
              <a:gd name="connsiteX10" fmla="*/ 338724 w 4964699"/>
              <a:gd name="connsiteY10" fmla="*/ 1625600 h 6972300"/>
              <a:gd name="connsiteX11" fmla="*/ 346555 w 4964699"/>
              <a:gd name="connsiteY11"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615325 w 4964699"/>
              <a:gd name="connsiteY6" fmla="*/ 6959600 h 6972300"/>
              <a:gd name="connsiteX7" fmla="*/ 2389775 w 4964699"/>
              <a:gd name="connsiteY7" fmla="*/ 6959600 h 6972300"/>
              <a:gd name="connsiteX8" fmla="*/ 2288175 w 4964699"/>
              <a:gd name="connsiteY8" fmla="*/ 6965950 h 6972300"/>
              <a:gd name="connsiteX9" fmla="*/ 346555 w 4964699"/>
              <a:gd name="connsiteY9" fmla="*/ 6972300 h 6972300"/>
              <a:gd name="connsiteX10" fmla="*/ 332375 w 4964699"/>
              <a:gd name="connsiteY10" fmla="*/ 1841500 h 6972300"/>
              <a:gd name="connsiteX11" fmla="*/ 338724 w 4964699"/>
              <a:gd name="connsiteY11" fmla="*/ 1625600 h 6972300"/>
              <a:gd name="connsiteX12" fmla="*/ 346555 w 4964699"/>
              <a:gd name="connsiteY12"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704225 w 4964699"/>
              <a:gd name="connsiteY6" fmla="*/ 6959600 h 6972300"/>
              <a:gd name="connsiteX7" fmla="*/ 3615325 w 4964699"/>
              <a:gd name="connsiteY7" fmla="*/ 6959600 h 6972300"/>
              <a:gd name="connsiteX8" fmla="*/ 2389775 w 4964699"/>
              <a:gd name="connsiteY8" fmla="*/ 6959600 h 6972300"/>
              <a:gd name="connsiteX9" fmla="*/ 2288175 w 4964699"/>
              <a:gd name="connsiteY9" fmla="*/ 6965950 h 6972300"/>
              <a:gd name="connsiteX10" fmla="*/ 346555 w 4964699"/>
              <a:gd name="connsiteY10" fmla="*/ 6972300 h 6972300"/>
              <a:gd name="connsiteX11" fmla="*/ 332375 w 4964699"/>
              <a:gd name="connsiteY11" fmla="*/ 1841500 h 6972300"/>
              <a:gd name="connsiteX12" fmla="*/ 338724 w 4964699"/>
              <a:gd name="connsiteY12" fmla="*/ 1625600 h 6972300"/>
              <a:gd name="connsiteX13" fmla="*/ 346555 w 4964699"/>
              <a:gd name="connsiteY13" fmla="*/ 6350 h 6972300"/>
              <a:gd name="connsiteX0" fmla="*/ 346555 w 4964699"/>
              <a:gd name="connsiteY0" fmla="*/ 11113 h 6977063"/>
              <a:gd name="connsiteX1" fmla="*/ 967374 w 4964699"/>
              <a:gd name="connsiteY1" fmla="*/ 4763 h 6977063"/>
              <a:gd name="connsiteX2" fmla="*/ 1026113 w 4964699"/>
              <a:gd name="connsiteY2" fmla="*/ 0 h 6977063"/>
              <a:gd name="connsiteX3" fmla="*/ 1062624 w 4964699"/>
              <a:gd name="connsiteY3" fmla="*/ 4763 h 6977063"/>
              <a:gd name="connsiteX4" fmla="*/ 2300874 w 4964699"/>
              <a:gd name="connsiteY4" fmla="*/ 4763 h 6977063"/>
              <a:gd name="connsiteX5" fmla="*/ 4964699 w 4964699"/>
              <a:gd name="connsiteY5" fmla="*/ 11113 h 6977063"/>
              <a:gd name="connsiteX6" fmla="*/ 4964699 w 4964699"/>
              <a:gd name="connsiteY6" fmla="*/ 6977063 h 6977063"/>
              <a:gd name="connsiteX7" fmla="*/ 3704225 w 4964699"/>
              <a:gd name="connsiteY7" fmla="*/ 6964363 h 6977063"/>
              <a:gd name="connsiteX8" fmla="*/ 3615325 w 4964699"/>
              <a:gd name="connsiteY8" fmla="*/ 6964363 h 6977063"/>
              <a:gd name="connsiteX9" fmla="*/ 2389775 w 4964699"/>
              <a:gd name="connsiteY9" fmla="*/ 6964363 h 6977063"/>
              <a:gd name="connsiteX10" fmla="*/ 2288175 w 4964699"/>
              <a:gd name="connsiteY10" fmla="*/ 6970713 h 6977063"/>
              <a:gd name="connsiteX11" fmla="*/ 346555 w 4964699"/>
              <a:gd name="connsiteY11" fmla="*/ 6977063 h 6977063"/>
              <a:gd name="connsiteX12" fmla="*/ 332375 w 4964699"/>
              <a:gd name="connsiteY12" fmla="*/ 1846263 h 6977063"/>
              <a:gd name="connsiteX13" fmla="*/ 338724 w 4964699"/>
              <a:gd name="connsiteY13" fmla="*/ 1630363 h 6977063"/>
              <a:gd name="connsiteX14" fmla="*/ 346555 w 4964699"/>
              <a:gd name="connsiteY14" fmla="*/ 11113 h 6977063"/>
              <a:gd name="connsiteX0" fmla="*/ 346555 w 4964699"/>
              <a:gd name="connsiteY0" fmla="*/ 6350 h 6972300"/>
              <a:gd name="connsiteX1" fmla="*/ 967374 w 4964699"/>
              <a:gd name="connsiteY1" fmla="*/ 0 h 6972300"/>
              <a:gd name="connsiteX2" fmla="*/ 2526300 w 4964699"/>
              <a:gd name="connsiteY2" fmla="*/ 3881437 h 6972300"/>
              <a:gd name="connsiteX3" fmla="*/ 1062624 w 4964699"/>
              <a:gd name="connsiteY3" fmla="*/ 0 h 6972300"/>
              <a:gd name="connsiteX4" fmla="*/ 2300874 w 4964699"/>
              <a:gd name="connsiteY4" fmla="*/ 0 h 6972300"/>
              <a:gd name="connsiteX5" fmla="*/ 4964699 w 4964699"/>
              <a:gd name="connsiteY5" fmla="*/ 6350 h 6972300"/>
              <a:gd name="connsiteX6" fmla="*/ 4964699 w 4964699"/>
              <a:gd name="connsiteY6" fmla="*/ 6972300 h 6972300"/>
              <a:gd name="connsiteX7" fmla="*/ 3704225 w 4964699"/>
              <a:gd name="connsiteY7" fmla="*/ 6959600 h 6972300"/>
              <a:gd name="connsiteX8" fmla="*/ 3615325 w 4964699"/>
              <a:gd name="connsiteY8" fmla="*/ 6959600 h 6972300"/>
              <a:gd name="connsiteX9" fmla="*/ 2389775 w 4964699"/>
              <a:gd name="connsiteY9" fmla="*/ 6959600 h 6972300"/>
              <a:gd name="connsiteX10" fmla="*/ 2288175 w 4964699"/>
              <a:gd name="connsiteY10" fmla="*/ 6965950 h 6972300"/>
              <a:gd name="connsiteX11" fmla="*/ 346555 w 4964699"/>
              <a:gd name="connsiteY11" fmla="*/ 6972300 h 6972300"/>
              <a:gd name="connsiteX12" fmla="*/ 332375 w 4964699"/>
              <a:gd name="connsiteY12" fmla="*/ 1841500 h 6972300"/>
              <a:gd name="connsiteX13" fmla="*/ 338724 w 4964699"/>
              <a:gd name="connsiteY13" fmla="*/ 1625600 h 6972300"/>
              <a:gd name="connsiteX14" fmla="*/ 346555 w 4964699"/>
              <a:gd name="connsiteY14" fmla="*/ 6350 h 6972300"/>
              <a:gd name="connsiteX0" fmla="*/ 346555 w 4964699"/>
              <a:gd name="connsiteY0" fmla="*/ 6350 h 6972300"/>
              <a:gd name="connsiteX1" fmla="*/ 967374 w 4964699"/>
              <a:gd name="connsiteY1" fmla="*/ 0 h 6972300"/>
              <a:gd name="connsiteX2" fmla="*/ 3699780 w 4964699"/>
              <a:gd name="connsiteY2" fmla="*/ 6967537 h 6972300"/>
              <a:gd name="connsiteX3" fmla="*/ 1062624 w 4964699"/>
              <a:gd name="connsiteY3" fmla="*/ 0 h 6972300"/>
              <a:gd name="connsiteX4" fmla="*/ 2300874 w 4964699"/>
              <a:gd name="connsiteY4" fmla="*/ 0 h 6972300"/>
              <a:gd name="connsiteX5" fmla="*/ 4964699 w 4964699"/>
              <a:gd name="connsiteY5" fmla="*/ 6350 h 6972300"/>
              <a:gd name="connsiteX6" fmla="*/ 4964699 w 4964699"/>
              <a:gd name="connsiteY6" fmla="*/ 6972300 h 6972300"/>
              <a:gd name="connsiteX7" fmla="*/ 3704225 w 4964699"/>
              <a:gd name="connsiteY7" fmla="*/ 6959600 h 6972300"/>
              <a:gd name="connsiteX8" fmla="*/ 3615325 w 4964699"/>
              <a:gd name="connsiteY8" fmla="*/ 6959600 h 6972300"/>
              <a:gd name="connsiteX9" fmla="*/ 2389775 w 4964699"/>
              <a:gd name="connsiteY9" fmla="*/ 6959600 h 6972300"/>
              <a:gd name="connsiteX10" fmla="*/ 2288175 w 4964699"/>
              <a:gd name="connsiteY10" fmla="*/ 6965950 h 6972300"/>
              <a:gd name="connsiteX11" fmla="*/ 346555 w 4964699"/>
              <a:gd name="connsiteY11" fmla="*/ 6972300 h 6972300"/>
              <a:gd name="connsiteX12" fmla="*/ 332375 w 4964699"/>
              <a:gd name="connsiteY12" fmla="*/ 1841500 h 6972300"/>
              <a:gd name="connsiteX13" fmla="*/ 338724 w 4964699"/>
              <a:gd name="connsiteY13" fmla="*/ 1625600 h 6972300"/>
              <a:gd name="connsiteX14" fmla="*/ 346555 w 4964699"/>
              <a:gd name="connsiteY14" fmla="*/ 6350 h 6972300"/>
              <a:gd name="connsiteX0" fmla="*/ 346555 w 4964699"/>
              <a:gd name="connsiteY0" fmla="*/ 6350 h 6972300"/>
              <a:gd name="connsiteX1" fmla="*/ 967374 w 4964699"/>
              <a:gd name="connsiteY1" fmla="*/ 0 h 6972300"/>
              <a:gd name="connsiteX2" fmla="*/ 2684415 w 4964699"/>
              <a:gd name="connsiteY2" fmla="*/ 438150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615325 w 4964699"/>
              <a:gd name="connsiteY9" fmla="*/ 695960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346555 w 4964699"/>
              <a:gd name="connsiteY0" fmla="*/ 6350 h 6972300"/>
              <a:gd name="connsiteX1" fmla="*/ 967374 w 4964699"/>
              <a:gd name="connsiteY1" fmla="*/ 0 h 6972300"/>
              <a:gd name="connsiteX2" fmla="*/ 3621675 w 4964699"/>
              <a:gd name="connsiteY2" fmla="*/ 695706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615325 w 4964699"/>
              <a:gd name="connsiteY9" fmla="*/ 695960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346555 w 4964699"/>
              <a:gd name="connsiteY0" fmla="*/ 6350 h 6972300"/>
              <a:gd name="connsiteX1" fmla="*/ 967374 w 4964699"/>
              <a:gd name="connsiteY1" fmla="*/ 0 h 6972300"/>
              <a:gd name="connsiteX2" fmla="*/ 3621675 w 4964699"/>
              <a:gd name="connsiteY2" fmla="*/ 695706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592465 w 4964699"/>
              <a:gd name="connsiteY9" fmla="*/ 695198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154847 w 4772991"/>
              <a:gd name="connsiteY0" fmla="*/ 6350 h 6972300"/>
              <a:gd name="connsiteX1" fmla="*/ 775666 w 4772991"/>
              <a:gd name="connsiteY1" fmla="*/ 0 h 6972300"/>
              <a:gd name="connsiteX2" fmla="*/ 3429967 w 4772991"/>
              <a:gd name="connsiteY2" fmla="*/ 6957060 h 6972300"/>
              <a:gd name="connsiteX3" fmla="*/ 3508072 w 4772991"/>
              <a:gd name="connsiteY3" fmla="*/ 6967537 h 6972300"/>
              <a:gd name="connsiteX4" fmla="*/ 870916 w 4772991"/>
              <a:gd name="connsiteY4" fmla="*/ 0 h 6972300"/>
              <a:gd name="connsiteX5" fmla="*/ 2109166 w 4772991"/>
              <a:gd name="connsiteY5" fmla="*/ 0 h 6972300"/>
              <a:gd name="connsiteX6" fmla="*/ 4772991 w 4772991"/>
              <a:gd name="connsiteY6" fmla="*/ 6350 h 6972300"/>
              <a:gd name="connsiteX7" fmla="*/ 4772991 w 4772991"/>
              <a:gd name="connsiteY7" fmla="*/ 6972300 h 6972300"/>
              <a:gd name="connsiteX8" fmla="*/ 3512517 w 4772991"/>
              <a:gd name="connsiteY8" fmla="*/ 6959600 h 6972300"/>
              <a:gd name="connsiteX9" fmla="*/ 3400757 w 4772991"/>
              <a:gd name="connsiteY9" fmla="*/ 6951980 h 6972300"/>
              <a:gd name="connsiteX10" fmla="*/ 2198067 w 4772991"/>
              <a:gd name="connsiteY10" fmla="*/ 6959600 h 6972300"/>
              <a:gd name="connsiteX11" fmla="*/ 2096467 w 4772991"/>
              <a:gd name="connsiteY11" fmla="*/ 6965950 h 6972300"/>
              <a:gd name="connsiteX12" fmla="*/ 154847 w 4772991"/>
              <a:gd name="connsiteY12" fmla="*/ 6972300 h 6972300"/>
              <a:gd name="connsiteX13" fmla="*/ 121617 w 4772991"/>
              <a:gd name="connsiteY13" fmla="*/ 1974850 h 6972300"/>
              <a:gd name="connsiteX14" fmla="*/ 140667 w 4772991"/>
              <a:gd name="connsiteY14" fmla="*/ 1841500 h 6972300"/>
              <a:gd name="connsiteX15" fmla="*/ 147016 w 4772991"/>
              <a:gd name="connsiteY15" fmla="*/ 1625600 h 6972300"/>
              <a:gd name="connsiteX16" fmla="*/ 154847 w 4772991"/>
              <a:gd name="connsiteY16"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123157 w 4774531"/>
              <a:gd name="connsiteY14" fmla="*/ 1974850 h 6972300"/>
              <a:gd name="connsiteX15" fmla="*/ 142207 w 4774531"/>
              <a:gd name="connsiteY15" fmla="*/ 1841500 h 6972300"/>
              <a:gd name="connsiteX16" fmla="*/ 148556 w 4774531"/>
              <a:gd name="connsiteY16" fmla="*/ 1625600 h 6972300"/>
              <a:gd name="connsiteX17" fmla="*/ 156387 w 4774531"/>
              <a:gd name="connsiteY17"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123157 w 4774531"/>
              <a:gd name="connsiteY14" fmla="*/ 1974850 h 6972300"/>
              <a:gd name="connsiteX15" fmla="*/ 525589 w 4774531"/>
              <a:gd name="connsiteY15" fmla="*/ 1889125 h 6972300"/>
              <a:gd name="connsiteX16" fmla="*/ 148556 w 4774531"/>
              <a:gd name="connsiteY16" fmla="*/ 1625600 h 6972300"/>
              <a:gd name="connsiteX17" fmla="*/ 156387 w 4774531"/>
              <a:gd name="connsiteY17"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430338 w 4774531"/>
              <a:gd name="connsiteY14" fmla="*/ 2432050 h 6972300"/>
              <a:gd name="connsiteX15" fmla="*/ 525589 w 4774531"/>
              <a:gd name="connsiteY15" fmla="*/ 1889125 h 6972300"/>
              <a:gd name="connsiteX16" fmla="*/ 148556 w 4774531"/>
              <a:gd name="connsiteY16" fmla="*/ 1625600 h 6972300"/>
              <a:gd name="connsiteX17" fmla="*/ 156387 w 4774531"/>
              <a:gd name="connsiteY17" fmla="*/ 6350 h 6972300"/>
              <a:gd name="connsiteX0" fmla="*/ 146526 w 4764670"/>
              <a:gd name="connsiteY0" fmla="*/ 6350 h 6972300"/>
              <a:gd name="connsiteX1" fmla="*/ 767345 w 4764670"/>
              <a:gd name="connsiteY1" fmla="*/ 0 h 6972300"/>
              <a:gd name="connsiteX2" fmla="*/ 3421646 w 4764670"/>
              <a:gd name="connsiteY2" fmla="*/ 6957060 h 6972300"/>
              <a:gd name="connsiteX3" fmla="*/ 3499751 w 4764670"/>
              <a:gd name="connsiteY3" fmla="*/ 6967537 h 6972300"/>
              <a:gd name="connsiteX4" fmla="*/ 862595 w 4764670"/>
              <a:gd name="connsiteY4" fmla="*/ 0 h 6972300"/>
              <a:gd name="connsiteX5" fmla="*/ 2100845 w 4764670"/>
              <a:gd name="connsiteY5" fmla="*/ 0 h 6972300"/>
              <a:gd name="connsiteX6" fmla="*/ 4764670 w 4764670"/>
              <a:gd name="connsiteY6" fmla="*/ 6350 h 6972300"/>
              <a:gd name="connsiteX7" fmla="*/ 4764670 w 4764670"/>
              <a:gd name="connsiteY7" fmla="*/ 6972300 h 6972300"/>
              <a:gd name="connsiteX8" fmla="*/ 3504196 w 4764670"/>
              <a:gd name="connsiteY8" fmla="*/ 6959600 h 6972300"/>
              <a:gd name="connsiteX9" fmla="*/ 3392436 w 4764670"/>
              <a:gd name="connsiteY9" fmla="*/ 6951980 h 6972300"/>
              <a:gd name="connsiteX10" fmla="*/ 2189746 w 4764670"/>
              <a:gd name="connsiteY10" fmla="*/ 6959600 h 6972300"/>
              <a:gd name="connsiteX11" fmla="*/ 2088146 w 4764670"/>
              <a:gd name="connsiteY11" fmla="*/ 6965950 h 6972300"/>
              <a:gd name="connsiteX12" fmla="*/ 146526 w 4764670"/>
              <a:gd name="connsiteY12" fmla="*/ 6972300 h 6972300"/>
              <a:gd name="connsiteX13" fmla="*/ 142665 w 4764670"/>
              <a:gd name="connsiteY13" fmla="*/ 2000250 h 6972300"/>
              <a:gd name="connsiteX14" fmla="*/ 420477 w 4764670"/>
              <a:gd name="connsiteY14" fmla="*/ 2432050 h 6972300"/>
              <a:gd name="connsiteX15" fmla="*/ 515728 w 4764670"/>
              <a:gd name="connsiteY15" fmla="*/ 1889125 h 6972300"/>
              <a:gd name="connsiteX16" fmla="*/ 138695 w 4764670"/>
              <a:gd name="connsiteY16" fmla="*/ 1625600 h 6972300"/>
              <a:gd name="connsiteX17" fmla="*/ 146526 w 4764670"/>
              <a:gd name="connsiteY17" fmla="*/ 6350 h 6972300"/>
              <a:gd name="connsiteX0" fmla="*/ 146526 w 4764670"/>
              <a:gd name="connsiteY0" fmla="*/ 6350 h 6972300"/>
              <a:gd name="connsiteX1" fmla="*/ 767345 w 4764670"/>
              <a:gd name="connsiteY1" fmla="*/ 0 h 6972300"/>
              <a:gd name="connsiteX2" fmla="*/ 3421646 w 4764670"/>
              <a:gd name="connsiteY2" fmla="*/ 6957060 h 6972300"/>
              <a:gd name="connsiteX3" fmla="*/ 3499751 w 4764670"/>
              <a:gd name="connsiteY3" fmla="*/ 6967537 h 6972300"/>
              <a:gd name="connsiteX4" fmla="*/ 862595 w 4764670"/>
              <a:gd name="connsiteY4" fmla="*/ 0 h 6972300"/>
              <a:gd name="connsiteX5" fmla="*/ 2100845 w 4764670"/>
              <a:gd name="connsiteY5" fmla="*/ 0 h 6972300"/>
              <a:gd name="connsiteX6" fmla="*/ 4764670 w 4764670"/>
              <a:gd name="connsiteY6" fmla="*/ 6350 h 6972300"/>
              <a:gd name="connsiteX7" fmla="*/ 4764670 w 4764670"/>
              <a:gd name="connsiteY7" fmla="*/ 6972300 h 6972300"/>
              <a:gd name="connsiteX8" fmla="*/ 3504196 w 4764670"/>
              <a:gd name="connsiteY8" fmla="*/ 6959600 h 6972300"/>
              <a:gd name="connsiteX9" fmla="*/ 3392436 w 4764670"/>
              <a:gd name="connsiteY9" fmla="*/ 6951980 h 6972300"/>
              <a:gd name="connsiteX10" fmla="*/ 2189746 w 4764670"/>
              <a:gd name="connsiteY10" fmla="*/ 6959600 h 6972300"/>
              <a:gd name="connsiteX11" fmla="*/ 2088146 w 4764670"/>
              <a:gd name="connsiteY11" fmla="*/ 6965950 h 6972300"/>
              <a:gd name="connsiteX12" fmla="*/ 146526 w 4764670"/>
              <a:gd name="connsiteY12" fmla="*/ 6972300 h 6972300"/>
              <a:gd name="connsiteX13" fmla="*/ 142665 w 4764670"/>
              <a:gd name="connsiteY13" fmla="*/ 2000250 h 6972300"/>
              <a:gd name="connsiteX14" fmla="*/ 420477 w 4764670"/>
              <a:gd name="connsiteY14" fmla="*/ 2432050 h 6972300"/>
              <a:gd name="connsiteX15" fmla="*/ 515728 w 4764670"/>
              <a:gd name="connsiteY15" fmla="*/ 1889125 h 6972300"/>
              <a:gd name="connsiteX16" fmla="*/ 138695 w 4764670"/>
              <a:gd name="connsiteY16" fmla="*/ 1625600 h 6972300"/>
              <a:gd name="connsiteX17" fmla="*/ 146526 w 476467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411767 w 4755960"/>
              <a:gd name="connsiteY14" fmla="*/ 2432050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1545242 w 4755960"/>
              <a:gd name="connsiteY14" fmla="*/ 5541962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2078642 w 4755960"/>
              <a:gd name="connsiteY14" fmla="*/ 6970712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29985 w 4755960"/>
              <a:gd name="connsiteY16" fmla="*/ 1625600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44272 w 4755960"/>
              <a:gd name="connsiteY16" fmla="*/ 1616076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44272 w 4755960"/>
              <a:gd name="connsiteY16" fmla="*/ 1616076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29985 w 4755960"/>
              <a:gd name="connsiteY16" fmla="*/ 1630363 h 6977874"/>
              <a:gd name="connsiteX17" fmla="*/ 137816 w 4755960"/>
              <a:gd name="connsiteY17" fmla="*/ 6350 h 6977874"/>
              <a:gd name="connsiteX0" fmla="*/ 142330 w 4760474"/>
              <a:gd name="connsiteY0" fmla="*/ 6350 h 6977874"/>
              <a:gd name="connsiteX1" fmla="*/ 763149 w 4760474"/>
              <a:gd name="connsiteY1" fmla="*/ 0 h 6977874"/>
              <a:gd name="connsiteX2" fmla="*/ 3417450 w 4760474"/>
              <a:gd name="connsiteY2" fmla="*/ 6957060 h 6977874"/>
              <a:gd name="connsiteX3" fmla="*/ 3495555 w 4760474"/>
              <a:gd name="connsiteY3" fmla="*/ 6967537 h 6977874"/>
              <a:gd name="connsiteX4" fmla="*/ 858399 w 4760474"/>
              <a:gd name="connsiteY4" fmla="*/ 0 h 6977874"/>
              <a:gd name="connsiteX5" fmla="*/ 2096649 w 4760474"/>
              <a:gd name="connsiteY5" fmla="*/ 0 h 6977874"/>
              <a:gd name="connsiteX6" fmla="*/ 4760474 w 4760474"/>
              <a:gd name="connsiteY6" fmla="*/ 6350 h 6977874"/>
              <a:gd name="connsiteX7" fmla="*/ 4760474 w 4760474"/>
              <a:gd name="connsiteY7" fmla="*/ 6972300 h 6977874"/>
              <a:gd name="connsiteX8" fmla="*/ 3500000 w 4760474"/>
              <a:gd name="connsiteY8" fmla="*/ 6959600 h 6977874"/>
              <a:gd name="connsiteX9" fmla="*/ 3388240 w 4760474"/>
              <a:gd name="connsiteY9" fmla="*/ 6951980 h 6977874"/>
              <a:gd name="connsiteX10" fmla="*/ 2185550 w 4760474"/>
              <a:gd name="connsiteY10" fmla="*/ 6959600 h 6977874"/>
              <a:gd name="connsiteX11" fmla="*/ 2083950 w 4760474"/>
              <a:gd name="connsiteY11" fmla="*/ 6965950 h 6977874"/>
              <a:gd name="connsiteX12" fmla="*/ 142330 w 4760474"/>
              <a:gd name="connsiteY12" fmla="*/ 6972300 h 6977874"/>
              <a:gd name="connsiteX13" fmla="*/ 155138 w 4760474"/>
              <a:gd name="connsiteY13" fmla="*/ 1883569 h 6977874"/>
              <a:gd name="connsiteX14" fmla="*/ 2083156 w 4760474"/>
              <a:gd name="connsiteY14" fmla="*/ 6970712 h 6977874"/>
              <a:gd name="connsiteX15" fmla="*/ 2183170 w 4760474"/>
              <a:gd name="connsiteY15" fmla="*/ 6956425 h 6977874"/>
              <a:gd name="connsiteX16" fmla="*/ 134499 w 4760474"/>
              <a:gd name="connsiteY16" fmla="*/ 1630363 h 6977874"/>
              <a:gd name="connsiteX17" fmla="*/ 142330 w 4760474"/>
              <a:gd name="connsiteY17" fmla="*/ 6350 h 6977874"/>
              <a:gd name="connsiteX0" fmla="*/ 144363 w 4762507"/>
              <a:gd name="connsiteY0" fmla="*/ 6350 h 6977874"/>
              <a:gd name="connsiteX1" fmla="*/ 765182 w 4762507"/>
              <a:gd name="connsiteY1" fmla="*/ 0 h 6977874"/>
              <a:gd name="connsiteX2" fmla="*/ 3419483 w 4762507"/>
              <a:gd name="connsiteY2" fmla="*/ 6957060 h 6977874"/>
              <a:gd name="connsiteX3" fmla="*/ 3497588 w 4762507"/>
              <a:gd name="connsiteY3" fmla="*/ 6967537 h 6977874"/>
              <a:gd name="connsiteX4" fmla="*/ 860432 w 4762507"/>
              <a:gd name="connsiteY4" fmla="*/ 0 h 6977874"/>
              <a:gd name="connsiteX5" fmla="*/ 2098682 w 4762507"/>
              <a:gd name="connsiteY5" fmla="*/ 0 h 6977874"/>
              <a:gd name="connsiteX6" fmla="*/ 4762507 w 4762507"/>
              <a:gd name="connsiteY6" fmla="*/ 6350 h 6977874"/>
              <a:gd name="connsiteX7" fmla="*/ 4762507 w 4762507"/>
              <a:gd name="connsiteY7" fmla="*/ 6972300 h 6977874"/>
              <a:gd name="connsiteX8" fmla="*/ 3502033 w 4762507"/>
              <a:gd name="connsiteY8" fmla="*/ 6959600 h 6977874"/>
              <a:gd name="connsiteX9" fmla="*/ 3390273 w 4762507"/>
              <a:gd name="connsiteY9" fmla="*/ 6951980 h 6977874"/>
              <a:gd name="connsiteX10" fmla="*/ 2187583 w 4762507"/>
              <a:gd name="connsiteY10" fmla="*/ 6959600 h 6977874"/>
              <a:gd name="connsiteX11" fmla="*/ 2085983 w 4762507"/>
              <a:gd name="connsiteY11" fmla="*/ 6965950 h 6977874"/>
              <a:gd name="connsiteX12" fmla="*/ 144363 w 4762507"/>
              <a:gd name="connsiteY12" fmla="*/ 6972300 h 6977874"/>
              <a:gd name="connsiteX13" fmla="*/ 157171 w 4762507"/>
              <a:gd name="connsiteY13" fmla="*/ 1883569 h 6977874"/>
              <a:gd name="connsiteX14" fmla="*/ 2085189 w 4762507"/>
              <a:gd name="connsiteY14" fmla="*/ 6970712 h 6977874"/>
              <a:gd name="connsiteX15" fmla="*/ 2185203 w 4762507"/>
              <a:gd name="connsiteY15" fmla="*/ 6956425 h 6977874"/>
              <a:gd name="connsiteX16" fmla="*/ 136532 w 4762507"/>
              <a:gd name="connsiteY16" fmla="*/ 1630363 h 6977874"/>
              <a:gd name="connsiteX17" fmla="*/ 144363 w 4762507"/>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8220 w 4626364"/>
              <a:gd name="connsiteY12" fmla="*/ 6972300 h 6977874"/>
              <a:gd name="connsiteX13" fmla="*/ 21028 w 4626364"/>
              <a:gd name="connsiteY13" fmla="*/ 188356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46320 w 4626364"/>
              <a:gd name="connsiteY12" fmla="*/ 6965950 h 6977874"/>
              <a:gd name="connsiteX13" fmla="*/ 21028 w 4626364"/>
              <a:gd name="connsiteY13" fmla="*/ 188356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46320 w 4626364"/>
              <a:gd name="connsiteY12" fmla="*/ 6965950 h 6977874"/>
              <a:gd name="connsiteX13" fmla="*/ 40078 w 4626364"/>
              <a:gd name="connsiteY13" fmla="*/ 194071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350 h 6977874"/>
              <a:gd name="connsiteX7" fmla="*/ 4618340 w 4618340"/>
              <a:gd name="connsiteY7" fmla="*/ 6972300 h 6977874"/>
              <a:gd name="connsiteX8" fmla="*/ 3357866 w 4618340"/>
              <a:gd name="connsiteY8" fmla="*/ 6959600 h 6977874"/>
              <a:gd name="connsiteX9" fmla="*/ 3246106 w 4618340"/>
              <a:gd name="connsiteY9" fmla="*/ 6951980 h 6977874"/>
              <a:gd name="connsiteX10" fmla="*/ 2043416 w 4618340"/>
              <a:gd name="connsiteY10" fmla="*/ 6959600 h 6977874"/>
              <a:gd name="connsiteX11" fmla="*/ 1941816 w 4618340"/>
              <a:gd name="connsiteY11" fmla="*/ 6965950 h 6977874"/>
              <a:gd name="connsiteX12" fmla="*/ 38296 w 4618340"/>
              <a:gd name="connsiteY12" fmla="*/ 6965950 h 6977874"/>
              <a:gd name="connsiteX13" fmla="*/ 32054 w 4618340"/>
              <a:gd name="connsiteY13" fmla="*/ 1940719 h 6977874"/>
              <a:gd name="connsiteX14" fmla="*/ 1941022 w 4618340"/>
              <a:gd name="connsiteY14" fmla="*/ 6970712 h 6977874"/>
              <a:gd name="connsiteX15" fmla="*/ 2041036 w 4618340"/>
              <a:gd name="connsiteY15" fmla="*/ 6956425 h 6977874"/>
              <a:gd name="connsiteX16" fmla="*/ 24115 w 4618340"/>
              <a:gd name="connsiteY16" fmla="*/ 1712913 h 6977874"/>
              <a:gd name="connsiteX17" fmla="*/ 196 w 4618340"/>
              <a:gd name="connsiteY17"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4102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6007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7912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17422 h 6977874"/>
              <a:gd name="connsiteX13" fmla="*/ 197912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17422 h 6977874"/>
              <a:gd name="connsiteX13" fmla="*/ 1984947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82584"/>
              <a:gd name="connsiteX1" fmla="*/ 621015 w 4618340"/>
              <a:gd name="connsiteY1" fmla="*/ 0 h 6982584"/>
              <a:gd name="connsiteX2" fmla="*/ 3275316 w 4618340"/>
              <a:gd name="connsiteY2" fmla="*/ 6957060 h 6982584"/>
              <a:gd name="connsiteX3" fmla="*/ 3353421 w 4618340"/>
              <a:gd name="connsiteY3" fmla="*/ 6967537 h 6982584"/>
              <a:gd name="connsiteX4" fmla="*/ 716265 w 4618340"/>
              <a:gd name="connsiteY4" fmla="*/ 0 h 6982584"/>
              <a:gd name="connsiteX5" fmla="*/ 1954515 w 4618340"/>
              <a:gd name="connsiteY5" fmla="*/ 0 h 6982584"/>
              <a:gd name="connsiteX6" fmla="*/ 4618340 w 4618340"/>
              <a:gd name="connsiteY6" fmla="*/ 6972300 h 6982584"/>
              <a:gd name="connsiteX7" fmla="*/ 3357866 w 4618340"/>
              <a:gd name="connsiteY7" fmla="*/ 6959600 h 6982584"/>
              <a:gd name="connsiteX8" fmla="*/ 3246106 w 4618340"/>
              <a:gd name="connsiteY8" fmla="*/ 6951980 h 6982584"/>
              <a:gd name="connsiteX9" fmla="*/ 2043416 w 4618340"/>
              <a:gd name="connsiteY9" fmla="*/ 6959600 h 6982584"/>
              <a:gd name="connsiteX10" fmla="*/ 1941816 w 4618340"/>
              <a:gd name="connsiteY10" fmla="*/ 6965950 h 6982584"/>
              <a:gd name="connsiteX11" fmla="*/ 38296 w 4618340"/>
              <a:gd name="connsiteY11" fmla="*/ 6965950 h 6982584"/>
              <a:gd name="connsiteX12" fmla="*/ 32054 w 4618340"/>
              <a:gd name="connsiteY12" fmla="*/ 1917422 h 6982584"/>
              <a:gd name="connsiteX13" fmla="*/ 2002419 w 4618340"/>
              <a:gd name="connsiteY13" fmla="*/ 6982360 h 6982584"/>
              <a:gd name="connsiteX14" fmla="*/ 2041036 w 4618340"/>
              <a:gd name="connsiteY14" fmla="*/ 6956425 h 6982584"/>
              <a:gd name="connsiteX15" fmla="*/ 24115 w 4618340"/>
              <a:gd name="connsiteY15" fmla="*/ 1712913 h 6982584"/>
              <a:gd name="connsiteX16" fmla="*/ 196 w 4618340"/>
              <a:gd name="connsiteY16" fmla="*/ 6350 h 6982584"/>
              <a:gd name="connsiteX0" fmla="*/ 196 w 4618340"/>
              <a:gd name="connsiteY0" fmla="*/ 6350 h 6982585"/>
              <a:gd name="connsiteX1" fmla="*/ 621015 w 4618340"/>
              <a:gd name="connsiteY1" fmla="*/ 0 h 6982585"/>
              <a:gd name="connsiteX2" fmla="*/ 3275316 w 4618340"/>
              <a:gd name="connsiteY2" fmla="*/ 6957060 h 6982585"/>
              <a:gd name="connsiteX3" fmla="*/ 3353421 w 4618340"/>
              <a:gd name="connsiteY3" fmla="*/ 6967537 h 6982585"/>
              <a:gd name="connsiteX4" fmla="*/ 716265 w 4618340"/>
              <a:gd name="connsiteY4" fmla="*/ 0 h 6982585"/>
              <a:gd name="connsiteX5" fmla="*/ 1954515 w 4618340"/>
              <a:gd name="connsiteY5" fmla="*/ 0 h 6982585"/>
              <a:gd name="connsiteX6" fmla="*/ 4618340 w 4618340"/>
              <a:gd name="connsiteY6" fmla="*/ 6972300 h 6982585"/>
              <a:gd name="connsiteX7" fmla="*/ 3357866 w 4618340"/>
              <a:gd name="connsiteY7" fmla="*/ 6959600 h 6982585"/>
              <a:gd name="connsiteX8" fmla="*/ 3246106 w 4618340"/>
              <a:gd name="connsiteY8" fmla="*/ 6951980 h 6982585"/>
              <a:gd name="connsiteX9" fmla="*/ 2043416 w 4618340"/>
              <a:gd name="connsiteY9" fmla="*/ 6959600 h 6982585"/>
              <a:gd name="connsiteX10" fmla="*/ 1941816 w 4618340"/>
              <a:gd name="connsiteY10" fmla="*/ 6965950 h 6982585"/>
              <a:gd name="connsiteX11" fmla="*/ 38296 w 4618340"/>
              <a:gd name="connsiteY11" fmla="*/ 6965950 h 6982585"/>
              <a:gd name="connsiteX12" fmla="*/ 32054 w 4618340"/>
              <a:gd name="connsiteY12" fmla="*/ 1946543 h 6982585"/>
              <a:gd name="connsiteX13" fmla="*/ 2002419 w 4618340"/>
              <a:gd name="connsiteY13" fmla="*/ 6982360 h 6982585"/>
              <a:gd name="connsiteX14" fmla="*/ 2041036 w 4618340"/>
              <a:gd name="connsiteY14" fmla="*/ 6956425 h 6982585"/>
              <a:gd name="connsiteX15" fmla="*/ 24115 w 4618340"/>
              <a:gd name="connsiteY15" fmla="*/ 1712913 h 6982585"/>
              <a:gd name="connsiteX16" fmla="*/ 196 w 4618340"/>
              <a:gd name="connsiteY16" fmla="*/ 6350 h 6982585"/>
              <a:gd name="connsiteX0" fmla="*/ 196 w 4618340"/>
              <a:gd name="connsiteY0" fmla="*/ 6350 h 6982585"/>
              <a:gd name="connsiteX1" fmla="*/ 621015 w 4618340"/>
              <a:gd name="connsiteY1" fmla="*/ 0 h 6982585"/>
              <a:gd name="connsiteX2" fmla="*/ 3275316 w 4618340"/>
              <a:gd name="connsiteY2" fmla="*/ 6957060 h 6982585"/>
              <a:gd name="connsiteX3" fmla="*/ 3353421 w 4618340"/>
              <a:gd name="connsiteY3" fmla="*/ 6967537 h 6982585"/>
              <a:gd name="connsiteX4" fmla="*/ 716265 w 4618340"/>
              <a:gd name="connsiteY4" fmla="*/ 0 h 6982585"/>
              <a:gd name="connsiteX5" fmla="*/ 1954515 w 4618340"/>
              <a:gd name="connsiteY5" fmla="*/ 0 h 6982585"/>
              <a:gd name="connsiteX6" fmla="*/ 4618340 w 4618340"/>
              <a:gd name="connsiteY6" fmla="*/ 6972300 h 6982585"/>
              <a:gd name="connsiteX7" fmla="*/ 3357866 w 4618340"/>
              <a:gd name="connsiteY7" fmla="*/ 6959600 h 6982585"/>
              <a:gd name="connsiteX8" fmla="*/ 3246106 w 4618340"/>
              <a:gd name="connsiteY8" fmla="*/ 6951980 h 6982585"/>
              <a:gd name="connsiteX9" fmla="*/ 2043416 w 4618340"/>
              <a:gd name="connsiteY9" fmla="*/ 6959600 h 6982585"/>
              <a:gd name="connsiteX10" fmla="*/ 1941816 w 4618340"/>
              <a:gd name="connsiteY10" fmla="*/ 6965950 h 6982585"/>
              <a:gd name="connsiteX11" fmla="*/ 38296 w 4618340"/>
              <a:gd name="connsiteY11" fmla="*/ 6965950 h 6982585"/>
              <a:gd name="connsiteX12" fmla="*/ 32054 w 4618340"/>
              <a:gd name="connsiteY12" fmla="*/ 1946543 h 6982585"/>
              <a:gd name="connsiteX13" fmla="*/ 1990770 w 4618340"/>
              <a:gd name="connsiteY13" fmla="*/ 6982360 h 6982585"/>
              <a:gd name="connsiteX14" fmla="*/ 2041036 w 4618340"/>
              <a:gd name="connsiteY14" fmla="*/ 6956425 h 6982585"/>
              <a:gd name="connsiteX15" fmla="*/ 24115 w 4618340"/>
              <a:gd name="connsiteY15" fmla="*/ 1712913 h 6982585"/>
              <a:gd name="connsiteX16" fmla="*/ 196 w 4618340"/>
              <a:gd name="connsiteY16" fmla="*/ 6350 h 6982585"/>
              <a:gd name="connsiteX0" fmla="*/ 196 w 4618340"/>
              <a:gd name="connsiteY0" fmla="*/ 6350 h 6982585"/>
              <a:gd name="connsiteX1" fmla="*/ 632921 w 4618340"/>
              <a:gd name="connsiteY1" fmla="*/ 0 h 6982585"/>
              <a:gd name="connsiteX2" fmla="*/ 3275316 w 4618340"/>
              <a:gd name="connsiteY2" fmla="*/ 6957060 h 6982585"/>
              <a:gd name="connsiteX3" fmla="*/ 3353421 w 4618340"/>
              <a:gd name="connsiteY3" fmla="*/ 6967537 h 6982585"/>
              <a:gd name="connsiteX4" fmla="*/ 716265 w 4618340"/>
              <a:gd name="connsiteY4" fmla="*/ 0 h 6982585"/>
              <a:gd name="connsiteX5" fmla="*/ 1954515 w 4618340"/>
              <a:gd name="connsiteY5" fmla="*/ 0 h 6982585"/>
              <a:gd name="connsiteX6" fmla="*/ 4618340 w 4618340"/>
              <a:gd name="connsiteY6" fmla="*/ 6972300 h 6982585"/>
              <a:gd name="connsiteX7" fmla="*/ 3357866 w 4618340"/>
              <a:gd name="connsiteY7" fmla="*/ 6959600 h 6982585"/>
              <a:gd name="connsiteX8" fmla="*/ 3246106 w 4618340"/>
              <a:gd name="connsiteY8" fmla="*/ 6951980 h 6982585"/>
              <a:gd name="connsiteX9" fmla="*/ 2043416 w 4618340"/>
              <a:gd name="connsiteY9" fmla="*/ 6959600 h 6982585"/>
              <a:gd name="connsiteX10" fmla="*/ 1941816 w 4618340"/>
              <a:gd name="connsiteY10" fmla="*/ 6965950 h 6982585"/>
              <a:gd name="connsiteX11" fmla="*/ 38296 w 4618340"/>
              <a:gd name="connsiteY11" fmla="*/ 6965950 h 6982585"/>
              <a:gd name="connsiteX12" fmla="*/ 32054 w 4618340"/>
              <a:gd name="connsiteY12" fmla="*/ 1946543 h 6982585"/>
              <a:gd name="connsiteX13" fmla="*/ 1990770 w 4618340"/>
              <a:gd name="connsiteY13" fmla="*/ 6982360 h 6982585"/>
              <a:gd name="connsiteX14" fmla="*/ 2041036 w 4618340"/>
              <a:gd name="connsiteY14" fmla="*/ 6956425 h 6982585"/>
              <a:gd name="connsiteX15" fmla="*/ 24115 w 4618340"/>
              <a:gd name="connsiteY15" fmla="*/ 1712913 h 6982585"/>
              <a:gd name="connsiteX16" fmla="*/ 196 w 4618340"/>
              <a:gd name="connsiteY16" fmla="*/ 6350 h 6982585"/>
              <a:gd name="connsiteX0" fmla="*/ 214 w 4618358"/>
              <a:gd name="connsiteY0" fmla="*/ 6350 h 6982585"/>
              <a:gd name="connsiteX1" fmla="*/ 632939 w 4618358"/>
              <a:gd name="connsiteY1" fmla="*/ 0 h 6982585"/>
              <a:gd name="connsiteX2" fmla="*/ 3275334 w 4618358"/>
              <a:gd name="connsiteY2" fmla="*/ 6957060 h 6982585"/>
              <a:gd name="connsiteX3" fmla="*/ 3353439 w 4618358"/>
              <a:gd name="connsiteY3" fmla="*/ 6967537 h 6982585"/>
              <a:gd name="connsiteX4" fmla="*/ 716283 w 4618358"/>
              <a:gd name="connsiteY4" fmla="*/ 0 h 6982585"/>
              <a:gd name="connsiteX5" fmla="*/ 1954533 w 4618358"/>
              <a:gd name="connsiteY5" fmla="*/ 0 h 6982585"/>
              <a:gd name="connsiteX6" fmla="*/ 4618358 w 4618358"/>
              <a:gd name="connsiteY6" fmla="*/ 6972300 h 6982585"/>
              <a:gd name="connsiteX7" fmla="*/ 3357884 w 4618358"/>
              <a:gd name="connsiteY7" fmla="*/ 6959600 h 6982585"/>
              <a:gd name="connsiteX8" fmla="*/ 3246124 w 4618358"/>
              <a:gd name="connsiteY8" fmla="*/ 6951980 h 6982585"/>
              <a:gd name="connsiteX9" fmla="*/ 2043434 w 4618358"/>
              <a:gd name="connsiteY9" fmla="*/ 6959600 h 6982585"/>
              <a:gd name="connsiteX10" fmla="*/ 1941834 w 4618358"/>
              <a:gd name="connsiteY10" fmla="*/ 6965950 h 6982585"/>
              <a:gd name="connsiteX11" fmla="*/ 38314 w 4618358"/>
              <a:gd name="connsiteY11" fmla="*/ 6965950 h 6982585"/>
              <a:gd name="connsiteX12" fmla="*/ 32072 w 4618358"/>
              <a:gd name="connsiteY12" fmla="*/ 1946543 h 6982585"/>
              <a:gd name="connsiteX13" fmla="*/ 1990788 w 4618358"/>
              <a:gd name="connsiteY13" fmla="*/ 6982360 h 6982585"/>
              <a:gd name="connsiteX14" fmla="*/ 2041054 w 4618358"/>
              <a:gd name="connsiteY14" fmla="*/ 6956425 h 6982585"/>
              <a:gd name="connsiteX15" fmla="*/ 21752 w 4618358"/>
              <a:gd name="connsiteY15" fmla="*/ 1629569 h 6982585"/>
              <a:gd name="connsiteX16" fmla="*/ 214 w 4618358"/>
              <a:gd name="connsiteY16" fmla="*/ 6350 h 6982585"/>
              <a:gd name="connsiteX0" fmla="*/ 214 w 4618358"/>
              <a:gd name="connsiteY0" fmla="*/ 6350 h 7366254"/>
              <a:gd name="connsiteX1" fmla="*/ 632939 w 4618358"/>
              <a:gd name="connsiteY1" fmla="*/ 0 h 7366254"/>
              <a:gd name="connsiteX2" fmla="*/ 3275334 w 4618358"/>
              <a:gd name="connsiteY2" fmla="*/ 6957060 h 7366254"/>
              <a:gd name="connsiteX3" fmla="*/ 3353439 w 4618358"/>
              <a:gd name="connsiteY3" fmla="*/ 6967537 h 7366254"/>
              <a:gd name="connsiteX4" fmla="*/ 716283 w 4618358"/>
              <a:gd name="connsiteY4" fmla="*/ 0 h 7366254"/>
              <a:gd name="connsiteX5" fmla="*/ 1954533 w 4618358"/>
              <a:gd name="connsiteY5" fmla="*/ 0 h 7366254"/>
              <a:gd name="connsiteX6" fmla="*/ 4618358 w 4618358"/>
              <a:gd name="connsiteY6" fmla="*/ 6972300 h 7366254"/>
              <a:gd name="connsiteX7" fmla="*/ 3357884 w 4618358"/>
              <a:gd name="connsiteY7" fmla="*/ 6959600 h 7366254"/>
              <a:gd name="connsiteX8" fmla="*/ 3246124 w 4618358"/>
              <a:gd name="connsiteY8" fmla="*/ 6951980 h 7366254"/>
              <a:gd name="connsiteX9" fmla="*/ 2043434 w 4618358"/>
              <a:gd name="connsiteY9" fmla="*/ 6959600 h 7366254"/>
              <a:gd name="connsiteX10" fmla="*/ 1941834 w 4618358"/>
              <a:gd name="connsiteY10" fmla="*/ 6965950 h 7366254"/>
              <a:gd name="connsiteX11" fmla="*/ 38314 w 4618358"/>
              <a:gd name="connsiteY11" fmla="*/ 6965950 h 7366254"/>
              <a:gd name="connsiteX12" fmla="*/ 39216 w 4618358"/>
              <a:gd name="connsiteY12" fmla="*/ 1858436 h 7366254"/>
              <a:gd name="connsiteX13" fmla="*/ 1990788 w 4618358"/>
              <a:gd name="connsiteY13" fmla="*/ 6982360 h 7366254"/>
              <a:gd name="connsiteX14" fmla="*/ 2041054 w 4618358"/>
              <a:gd name="connsiteY14" fmla="*/ 6956425 h 7366254"/>
              <a:gd name="connsiteX15" fmla="*/ 21752 w 4618358"/>
              <a:gd name="connsiteY15" fmla="*/ 1629569 h 7366254"/>
              <a:gd name="connsiteX16" fmla="*/ 214 w 4618358"/>
              <a:gd name="connsiteY16" fmla="*/ 6350 h 7366254"/>
              <a:gd name="connsiteX0" fmla="*/ 214 w 4618358"/>
              <a:gd name="connsiteY0" fmla="*/ 6350 h 6987302"/>
              <a:gd name="connsiteX1" fmla="*/ 632939 w 4618358"/>
              <a:gd name="connsiteY1" fmla="*/ 0 h 6987302"/>
              <a:gd name="connsiteX2" fmla="*/ 3275334 w 4618358"/>
              <a:gd name="connsiteY2" fmla="*/ 6957060 h 6987302"/>
              <a:gd name="connsiteX3" fmla="*/ 3353439 w 4618358"/>
              <a:gd name="connsiteY3" fmla="*/ 6967537 h 6987302"/>
              <a:gd name="connsiteX4" fmla="*/ 716283 w 4618358"/>
              <a:gd name="connsiteY4" fmla="*/ 0 h 6987302"/>
              <a:gd name="connsiteX5" fmla="*/ 1954533 w 4618358"/>
              <a:gd name="connsiteY5" fmla="*/ 0 h 6987302"/>
              <a:gd name="connsiteX6" fmla="*/ 4618358 w 4618358"/>
              <a:gd name="connsiteY6" fmla="*/ 6972300 h 6987302"/>
              <a:gd name="connsiteX7" fmla="*/ 3357884 w 4618358"/>
              <a:gd name="connsiteY7" fmla="*/ 6959600 h 6987302"/>
              <a:gd name="connsiteX8" fmla="*/ 3246124 w 4618358"/>
              <a:gd name="connsiteY8" fmla="*/ 6951980 h 6987302"/>
              <a:gd name="connsiteX9" fmla="*/ 2043434 w 4618358"/>
              <a:gd name="connsiteY9" fmla="*/ 6959600 h 6987302"/>
              <a:gd name="connsiteX10" fmla="*/ 1941834 w 4618358"/>
              <a:gd name="connsiteY10" fmla="*/ 6965950 h 6987302"/>
              <a:gd name="connsiteX11" fmla="*/ 38314 w 4618358"/>
              <a:gd name="connsiteY11" fmla="*/ 6965950 h 6987302"/>
              <a:gd name="connsiteX12" fmla="*/ 39216 w 4618358"/>
              <a:gd name="connsiteY12" fmla="*/ 1858436 h 6987302"/>
              <a:gd name="connsiteX13" fmla="*/ 1990788 w 4618358"/>
              <a:gd name="connsiteY13" fmla="*/ 6982360 h 6987302"/>
              <a:gd name="connsiteX14" fmla="*/ 2041054 w 4618358"/>
              <a:gd name="connsiteY14" fmla="*/ 6956425 h 6987302"/>
              <a:gd name="connsiteX15" fmla="*/ 21752 w 4618358"/>
              <a:gd name="connsiteY15" fmla="*/ 1629569 h 6987302"/>
              <a:gd name="connsiteX16" fmla="*/ 214 w 4618358"/>
              <a:gd name="connsiteY16" fmla="*/ 6350 h 6987302"/>
              <a:gd name="connsiteX0" fmla="*/ 214 w 4618358"/>
              <a:gd name="connsiteY0" fmla="*/ 6350 h 6982380"/>
              <a:gd name="connsiteX1" fmla="*/ 632939 w 4618358"/>
              <a:gd name="connsiteY1" fmla="*/ 0 h 6982380"/>
              <a:gd name="connsiteX2" fmla="*/ 3275334 w 4618358"/>
              <a:gd name="connsiteY2" fmla="*/ 6957060 h 6982380"/>
              <a:gd name="connsiteX3" fmla="*/ 3353439 w 4618358"/>
              <a:gd name="connsiteY3" fmla="*/ 6967537 h 6982380"/>
              <a:gd name="connsiteX4" fmla="*/ 716283 w 4618358"/>
              <a:gd name="connsiteY4" fmla="*/ 0 h 6982380"/>
              <a:gd name="connsiteX5" fmla="*/ 1954533 w 4618358"/>
              <a:gd name="connsiteY5" fmla="*/ 0 h 6982380"/>
              <a:gd name="connsiteX6" fmla="*/ 4618358 w 4618358"/>
              <a:gd name="connsiteY6" fmla="*/ 6972300 h 6982380"/>
              <a:gd name="connsiteX7" fmla="*/ 3357884 w 4618358"/>
              <a:gd name="connsiteY7" fmla="*/ 6959600 h 6982380"/>
              <a:gd name="connsiteX8" fmla="*/ 3246124 w 4618358"/>
              <a:gd name="connsiteY8" fmla="*/ 6951980 h 6982380"/>
              <a:gd name="connsiteX9" fmla="*/ 2043434 w 4618358"/>
              <a:gd name="connsiteY9" fmla="*/ 6959600 h 6982380"/>
              <a:gd name="connsiteX10" fmla="*/ 1941834 w 4618358"/>
              <a:gd name="connsiteY10" fmla="*/ 6965950 h 6982380"/>
              <a:gd name="connsiteX11" fmla="*/ 38314 w 4618358"/>
              <a:gd name="connsiteY11" fmla="*/ 6965950 h 6982380"/>
              <a:gd name="connsiteX12" fmla="*/ 39216 w 4618358"/>
              <a:gd name="connsiteY12" fmla="*/ 1858436 h 6982380"/>
              <a:gd name="connsiteX13" fmla="*/ 1990788 w 4618358"/>
              <a:gd name="connsiteY13" fmla="*/ 6982360 h 6982380"/>
              <a:gd name="connsiteX14" fmla="*/ 2041054 w 4618358"/>
              <a:gd name="connsiteY14" fmla="*/ 6956425 h 6982380"/>
              <a:gd name="connsiteX15" fmla="*/ 21752 w 4618358"/>
              <a:gd name="connsiteY15" fmla="*/ 1629569 h 6982380"/>
              <a:gd name="connsiteX16" fmla="*/ 214 w 4618358"/>
              <a:gd name="connsiteY16" fmla="*/ 6350 h 6982380"/>
              <a:gd name="connsiteX0" fmla="*/ 214 w 4618358"/>
              <a:gd name="connsiteY0" fmla="*/ 6350 h 6972855"/>
              <a:gd name="connsiteX1" fmla="*/ 632939 w 4618358"/>
              <a:gd name="connsiteY1" fmla="*/ 0 h 6972855"/>
              <a:gd name="connsiteX2" fmla="*/ 3275334 w 4618358"/>
              <a:gd name="connsiteY2" fmla="*/ 6957060 h 6972855"/>
              <a:gd name="connsiteX3" fmla="*/ 3353439 w 4618358"/>
              <a:gd name="connsiteY3" fmla="*/ 6967537 h 6972855"/>
              <a:gd name="connsiteX4" fmla="*/ 716283 w 4618358"/>
              <a:gd name="connsiteY4" fmla="*/ 0 h 6972855"/>
              <a:gd name="connsiteX5" fmla="*/ 1954533 w 4618358"/>
              <a:gd name="connsiteY5" fmla="*/ 0 h 6972855"/>
              <a:gd name="connsiteX6" fmla="*/ 4618358 w 4618358"/>
              <a:gd name="connsiteY6" fmla="*/ 6972300 h 6972855"/>
              <a:gd name="connsiteX7" fmla="*/ 3357884 w 4618358"/>
              <a:gd name="connsiteY7" fmla="*/ 6959600 h 6972855"/>
              <a:gd name="connsiteX8" fmla="*/ 3246124 w 4618358"/>
              <a:gd name="connsiteY8" fmla="*/ 6951980 h 6972855"/>
              <a:gd name="connsiteX9" fmla="*/ 2043434 w 4618358"/>
              <a:gd name="connsiteY9" fmla="*/ 6959600 h 6972855"/>
              <a:gd name="connsiteX10" fmla="*/ 1941834 w 4618358"/>
              <a:gd name="connsiteY10" fmla="*/ 6965950 h 6972855"/>
              <a:gd name="connsiteX11" fmla="*/ 38314 w 4618358"/>
              <a:gd name="connsiteY11" fmla="*/ 6965950 h 6972855"/>
              <a:gd name="connsiteX12" fmla="*/ 39216 w 4618358"/>
              <a:gd name="connsiteY12" fmla="*/ 1858436 h 6972855"/>
              <a:gd name="connsiteX13" fmla="*/ 1986026 w 4618358"/>
              <a:gd name="connsiteY13" fmla="*/ 6972835 h 6972855"/>
              <a:gd name="connsiteX14" fmla="*/ 2041054 w 4618358"/>
              <a:gd name="connsiteY14" fmla="*/ 6956425 h 6972855"/>
              <a:gd name="connsiteX15" fmla="*/ 21752 w 4618358"/>
              <a:gd name="connsiteY15" fmla="*/ 1629569 h 6972855"/>
              <a:gd name="connsiteX16" fmla="*/ 214 w 4618358"/>
              <a:gd name="connsiteY16" fmla="*/ 6350 h 6972855"/>
              <a:gd name="connsiteX0" fmla="*/ 214 w 4618358"/>
              <a:gd name="connsiteY0" fmla="*/ 6350 h 7346830"/>
              <a:gd name="connsiteX1" fmla="*/ 632939 w 4618358"/>
              <a:gd name="connsiteY1" fmla="*/ 0 h 7346830"/>
              <a:gd name="connsiteX2" fmla="*/ 3275334 w 4618358"/>
              <a:gd name="connsiteY2" fmla="*/ 6957060 h 7346830"/>
              <a:gd name="connsiteX3" fmla="*/ 3353439 w 4618358"/>
              <a:gd name="connsiteY3" fmla="*/ 6967537 h 7346830"/>
              <a:gd name="connsiteX4" fmla="*/ 716283 w 4618358"/>
              <a:gd name="connsiteY4" fmla="*/ 0 h 7346830"/>
              <a:gd name="connsiteX5" fmla="*/ 1954533 w 4618358"/>
              <a:gd name="connsiteY5" fmla="*/ 0 h 7346830"/>
              <a:gd name="connsiteX6" fmla="*/ 4618358 w 4618358"/>
              <a:gd name="connsiteY6" fmla="*/ 6972300 h 7346830"/>
              <a:gd name="connsiteX7" fmla="*/ 3357884 w 4618358"/>
              <a:gd name="connsiteY7" fmla="*/ 6959600 h 7346830"/>
              <a:gd name="connsiteX8" fmla="*/ 3246124 w 4618358"/>
              <a:gd name="connsiteY8" fmla="*/ 6951980 h 7346830"/>
              <a:gd name="connsiteX9" fmla="*/ 2043434 w 4618358"/>
              <a:gd name="connsiteY9" fmla="*/ 6959600 h 7346830"/>
              <a:gd name="connsiteX10" fmla="*/ 1941834 w 4618358"/>
              <a:gd name="connsiteY10" fmla="*/ 6965950 h 7346830"/>
              <a:gd name="connsiteX11" fmla="*/ 38314 w 4618358"/>
              <a:gd name="connsiteY11" fmla="*/ 6965950 h 7346830"/>
              <a:gd name="connsiteX12" fmla="*/ 39216 w 4618358"/>
              <a:gd name="connsiteY12" fmla="*/ 1860817 h 7346830"/>
              <a:gd name="connsiteX13" fmla="*/ 1986026 w 4618358"/>
              <a:gd name="connsiteY13" fmla="*/ 6972835 h 7346830"/>
              <a:gd name="connsiteX14" fmla="*/ 2041054 w 4618358"/>
              <a:gd name="connsiteY14" fmla="*/ 6956425 h 7346830"/>
              <a:gd name="connsiteX15" fmla="*/ 21752 w 4618358"/>
              <a:gd name="connsiteY15" fmla="*/ 1629569 h 7346830"/>
              <a:gd name="connsiteX16" fmla="*/ 214 w 4618358"/>
              <a:gd name="connsiteY16" fmla="*/ 6350 h 7346830"/>
              <a:gd name="connsiteX0" fmla="*/ 214 w 4618358"/>
              <a:gd name="connsiteY0" fmla="*/ 6350 h 6972835"/>
              <a:gd name="connsiteX1" fmla="*/ 632939 w 4618358"/>
              <a:gd name="connsiteY1" fmla="*/ 0 h 6972835"/>
              <a:gd name="connsiteX2" fmla="*/ 3275334 w 4618358"/>
              <a:gd name="connsiteY2" fmla="*/ 6957060 h 6972835"/>
              <a:gd name="connsiteX3" fmla="*/ 3353439 w 4618358"/>
              <a:gd name="connsiteY3" fmla="*/ 6967537 h 6972835"/>
              <a:gd name="connsiteX4" fmla="*/ 716283 w 4618358"/>
              <a:gd name="connsiteY4" fmla="*/ 0 h 6972835"/>
              <a:gd name="connsiteX5" fmla="*/ 1954533 w 4618358"/>
              <a:gd name="connsiteY5" fmla="*/ 0 h 6972835"/>
              <a:gd name="connsiteX6" fmla="*/ 4618358 w 4618358"/>
              <a:gd name="connsiteY6" fmla="*/ 6972300 h 6972835"/>
              <a:gd name="connsiteX7" fmla="*/ 3357884 w 4618358"/>
              <a:gd name="connsiteY7" fmla="*/ 6959600 h 6972835"/>
              <a:gd name="connsiteX8" fmla="*/ 3246124 w 4618358"/>
              <a:gd name="connsiteY8" fmla="*/ 6951980 h 6972835"/>
              <a:gd name="connsiteX9" fmla="*/ 2043434 w 4618358"/>
              <a:gd name="connsiteY9" fmla="*/ 6959600 h 6972835"/>
              <a:gd name="connsiteX10" fmla="*/ 1941834 w 4618358"/>
              <a:gd name="connsiteY10" fmla="*/ 6965950 h 6972835"/>
              <a:gd name="connsiteX11" fmla="*/ 38314 w 4618358"/>
              <a:gd name="connsiteY11" fmla="*/ 6965950 h 6972835"/>
              <a:gd name="connsiteX12" fmla="*/ 39216 w 4618358"/>
              <a:gd name="connsiteY12" fmla="*/ 1860817 h 6972835"/>
              <a:gd name="connsiteX13" fmla="*/ 1986026 w 4618358"/>
              <a:gd name="connsiteY13" fmla="*/ 6972835 h 6972835"/>
              <a:gd name="connsiteX14" fmla="*/ 2041054 w 4618358"/>
              <a:gd name="connsiteY14" fmla="*/ 6956425 h 6972835"/>
              <a:gd name="connsiteX15" fmla="*/ 21752 w 4618358"/>
              <a:gd name="connsiteY15" fmla="*/ 1629569 h 6972835"/>
              <a:gd name="connsiteX16" fmla="*/ 214 w 4618358"/>
              <a:gd name="connsiteY16" fmla="*/ 6350 h 6972835"/>
              <a:gd name="connsiteX0" fmla="*/ 214 w 4618358"/>
              <a:gd name="connsiteY0" fmla="*/ 6350 h 7346830"/>
              <a:gd name="connsiteX1" fmla="*/ 632939 w 4618358"/>
              <a:gd name="connsiteY1" fmla="*/ 0 h 7346830"/>
              <a:gd name="connsiteX2" fmla="*/ 3275334 w 4618358"/>
              <a:gd name="connsiteY2" fmla="*/ 6957060 h 7346830"/>
              <a:gd name="connsiteX3" fmla="*/ 3353439 w 4618358"/>
              <a:gd name="connsiteY3" fmla="*/ 6967537 h 7346830"/>
              <a:gd name="connsiteX4" fmla="*/ 716283 w 4618358"/>
              <a:gd name="connsiteY4" fmla="*/ 0 h 7346830"/>
              <a:gd name="connsiteX5" fmla="*/ 1954533 w 4618358"/>
              <a:gd name="connsiteY5" fmla="*/ 0 h 7346830"/>
              <a:gd name="connsiteX6" fmla="*/ 4618358 w 4618358"/>
              <a:gd name="connsiteY6" fmla="*/ 6972300 h 7346830"/>
              <a:gd name="connsiteX7" fmla="*/ 3357884 w 4618358"/>
              <a:gd name="connsiteY7" fmla="*/ 6959600 h 7346830"/>
              <a:gd name="connsiteX8" fmla="*/ 3246124 w 4618358"/>
              <a:gd name="connsiteY8" fmla="*/ 6951980 h 7346830"/>
              <a:gd name="connsiteX9" fmla="*/ 2043434 w 4618358"/>
              <a:gd name="connsiteY9" fmla="*/ 6959600 h 7346830"/>
              <a:gd name="connsiteX10" fmla="*/ 1941834 w 4618358"/>
              <a:gd name="connsiteY10" fmla="*/ 6965950 h 7346830"/>
              <a:gd name="connsiteX11" fmla="*/ 38314 w 4618358"/>
              <a:gd name="connsiteY11" fmla="*/ 6965950 h 7346830"/>
              <a:gd name="connsiteX12" fmla="*/ 29691 w 4618358"/>
              <a:gd name="connsiteY12" fmla="*/ 1860817 h 7346830"/>
              <a:gd name="connsiteX13" fmla="*/ 1986026 w 4618358"/>
              <a:gd name="connsiteY13" fmla="*/ 6972835 h 7346830"/>
              <a:gd name="connsiteX14" fmla="*/ 2041054 w 4618358"/>
              <a:gd name="connsiteY14" fmla="*/ 6956425 h 7346830"/>
              <a:gd name="connsiteX15" fmla="*/ 21752 w 4618358"/>
              <a:gd name="connsiteY15" fmla="*/ 1629569 h 7346830"/>
              <a:gd name="connsiteX16" fmla="*/ 214 w 4618358"/>
              <a:gd name="connsiteY16" fmla="*/ 6350 h 7346830"/>
              <a:gd name="connsiteX0" fmla="*/ 214 w 4618358"/>
              <a:gd name="connsiteY0" fmla="*/ 6350 h 7344465"/>
              <a:gd name="connsiteX1" fmla="*/ 632939 w 4618358"/>
              <a:gd name="connsiteY1" fmla="*/ 0 h 7344465"/>
              <a:gd name="connsiteX2" fmla="*/ 3275334 w 4618358"/>
              <a:gd name="connsiteY2" fmla="*/ 6957060 h 7344465"/>
              <a:gd name="connsiteX3" fmla="*/ 3353439 w 4618358"/>
              <a:gd name="connsiteY3" fmla="*/ 6967537 h 7344465"/>
              <a:gd name="connsiteX4" fmla="*/ 716283 w 4618358"/>
              <a:gd name="connsiteY4" fmla="*/ 0 h 7344465"/>
              <a:gd name="connsiteX5" fmla="*/ 1954533 w 4618358"/>
              <a:gd name="connsiteY5" fmla="*/ 0 h 7344465"/>
              <a:gd name="connsiteX6" fmla="*/ 4618358 w 4618358"/>
              <a:gd name="connsiteY6" fmla="*/ 6972300 h 7344465"/>
              <a:gd name="connsiteX7" fmla="*/ 3357884 w 4618358"/>
              <a:gd name="connsiteY7" fmla="*/ 6959600 h 7344465"/>
              <a:gd name="connsiteX8" fmla="*/ 3246124 w 4618358"/>
              <a:gd name="connsiteY8" fmla="*/ 6951980 h 7344465"/>
              <a:gd name="connsiteX9" fmla="*/ 2043434 w 4618358"/>
              <a:gd name="connsiteY9" fmla="*/ 6959600 h 7344465"/>
              <a:gd name="connsiteX10" fmla="*/ 1941834 w 4618358"/>
              <a:gd name="connsiteY10" fmla="*/ 6965950 h 7344465"/>
              <a:gd name="connsiteX11" fmla="*/ 38314 w 4618358"/>
              <a:gd name="connsiteY11" fmla="*/ 6965950 h 7344465"/>
              <a:gd name="connsiteX12" fmla="*/ 29691 w 4618358"/>
              <a:gd name="connsiteY12" fmla="*/ 1860817 h 7344465"/>
              <a:gd name="connsiteX13" fmla="*/ 1979676 w 4618358"/>
              <a:gd name="connsiteY13" fmla="*/ 6969660 h 7344465"/>
              <a:gd name="connsiteX14" fmla="*/ 2041054 w 4618358"/>
              <a:gd name="connsiteY14" fmla="*/ 6956425 h 7344465"/>
              <a:gd name="connsiteX15" fmla="*/ 21752 w 4618358"/>
              <a:gd name="connsiteY15" fmla="*/ 1629569 h 7344465"/>
              <a:gd name="connsiteX16" fmla="*/ 214 w 4618358"/>
              <a:gd name="connsiteY16" fmla="*/ 6350 h 7344465"/>
              <a:gd name="connsiteX0" fmla="*/ 214 w 4618358"/>
              <a:gd name="connsiteY0" fmla="*/ 6350 h 6979468"/>
              <a:gd name="connsiteX1" fmla="*/ 632939 w 4618358"/>
              <a:gd name="connsiteY1" fmla="*/ 0 h 6979468"/>
              <a:gd name="connsiteX2" fmla="*/ 3275334 w 4618358"/>
              <a:gd name="connsiteY2" fmla="*/ 6957060 h 6979468"/>
              <a:gd name="connsiteX3" fmla="*/ 3353439 w 4618358"/>
              <a:gd name="connsiteY3" fmla="*/ 6967537 h 6979468"/>
              <a:gd name="connsiteX4" fmla="*/ 716283 w 4618358"/>
              <a:gd name="connsiteY4" fmla="*/ 0 h 6979468"/>
              <a:gd name="connsiteX5" fmla="*/ 1954533 w 4618358"/>
              <a:gd name="connsiteY5" fmla="*/ 0 h 6979468"/>
              <a:gd name="connsiteX6" fmla="*/ 4618358 w 4618358"/>
              <a:gd name="connsiteY6" fmla="*/ 6972300 h 6979468"/>
              <a:gd name="connsiteX7" fmla="*/ 3357884 w 4618358"/>
              <a:gd name="connsiteY7" fmla="*/ 6959600 h 6979468"/>
              <a:gd name="connsiteX8" fmla="*/ 3246124 w 4618358"/>
              <a:gd name="connsiteY8" fmla="*/ 6951980 h 6979468"/>
              <a:gd name="connsiteX9" fmla="*/ 2043434 w 4618358"/>
              <a:gd name="connsiteY9" fmla="*/ 6959600 h 6979468"/>
              <a:gd name="connsiteX10" fmla="*/ 1941834 w 4618358"/>
              <a:gd name="connsiteY10" fmla="*/ 6965950 h 6979468"/>
              <a:gd name="connsiteX11" fmla="*/ 38314 w 4618358"/>
              <a:gd name="connsiteY11" fmla="*/ 6965950 h 6979468"/>
              <a:gd name="connsiteX12" fmla="*/ 29691 w 4618358"/>
              <a:gd name="connsiteY12" fmla="*/ 1860817 h 6979468"/>
              <a:gd name="connsiteX13" fmla="*/ 1979676 w 4618358"/>
              <a:gd name="connsiteY13" fmla="*/ 6969660 h 6979468"/>
              <a:gd name="connsiteX14" fmla="*/ 2041054 w 4618358"/>
              <a:gd name="connsiteY14" fmla="*/ 6956425 h 6979468"/>
              <a:gd name="connsiteX15" fmla="*/ 21752 w 4618358"/>
              <a:gd name="connsiteY15" fmla="*/ 1629569 h 6979468"/>
              <a:gd name="connsiteX16" fmla="*/ 214 w 4618358"/>
              <a:gd name="connsiteY16" fmla="*/ 6350 h 6979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8358" h="6979468">
                <a:moveTo>
                  <a:pt x="214" y="6350"/>
                </a:moveTo>
                <a:lnTo>
                  <a:pt x="632939" y="0"/>
                </a:lnTo>
                <a:lnTo>
                  <a:pt x="3275334" y="6957060"/>
                </a:lnTo>
                <a:lnTo>
                  <a:pt x="3353439" y="6967537"/>
                </a:lnTo>
                <a:lnTo>
                  <a:pt x="716283" y="0"/>
                </a:lnTo>
                <a:lnTo>
                  <a:pt x="1954533" y="0"/>
                </a:lnTo>
                <a:lnTo>
                  <a:pt x="4618358" y="6972300"/>
                </a:lnTo>
                <a:lnTo>
                  <a:pt x="3357884" y="6959600"/>
                </a:lnTo>
                <a:lnTo>
                  <a:pt x="3246124" y="6951980"/>
                </a:lnTo>
                <a:lnTo>
                  <a:pt x="2043434" y="6959600"/>
                </a:lnTo>
                <a:lnTo>
                  <a:pt x="1941834" y="6965950"/>
                </a:lnTo>
                <a:lnTo>
                  <a:pt x="38314" y="6965950"/>
                </a:lnTo>
                <a:cubicBezTo>
                  <a:pt x="44664" y="6792383"/>
                  <a:pt x="25704" y="1869812"/>
                  <a:pt x="29691" y="1860817"/>
                </a:cubicBezTo>
                <a:cubicBezTo>
                  <a:pt x="33678" y="1866109"/>
                  <a:pt x="1961949" y="6942717"/>
                  <a:pt x="1979676" y="6969660"/>
                </a:cubicBezTo>
                <a:cubicBezTo>
                  <a:pt x="1997403" y="6996603"/>
                  <a:pt x="2041583" y="6959864"/>
                  <a:pt x="2041054" y="6956425"/>
                </a:cubicBezTo>
                <a:cubicBezTo>
                  <a:pt x="2045287" y="6898217"/>
                  <a:pt x="14626" y="1635390"/>
                  <a:pt x="21752" y="1629569"/>
                </a:cubicBezTo>
                <a:cubicBezTo>
                  <a:pt x="19600" y="1632744"/>
                  <a:pt x="-2396" y="546100"/>
                  <a:pt x="214" y="6350"/>
                </a:cubicBezTo>
                <a:close/>
              </a:path>
            </a:pathLst>
          </a:custGeom>
          <a:solidFill>
            <a:schemeClr val="bg1">
              <a:lumMod val="65000"/>
            </a:schemeClr>
          </a:solidFill>
        </p:spPr>
        <p:txBody>
          <a:bodyPr lIns="684000" tIns="3096000"/>
          <a:lstStyle>
            <a:lvl1pPr>
              <a:defRPr sz="1200" b="1">
                <a:solidFill>
                  <a:schemeClr val="tx1"/>
                </a:solidFill>
              </a:defRPr>
            </a:lvl1pPr>
          </a:lstStyle>
          <a:p>
            <a:r>
              <a:rPr lang="en-AU" dirty="0"/>
              <a:t>               Picture</a:t>
            </a:r>
            <a:endParaRPr lang="en-US" dirty="0"/>
          </a:p>
        </p:txBody>
      </p:sp>
      <p:sp>
        <p:nvSpPr>
          <p:cNvPr id="7" name="Text Placeholder 26"/>
          <p:cNvSpPr>
            <a:spLocks noGrp="1"/>
          </p:cNvSpPr>
          <p:nvPr>
            <p:ph type="body" sz="quarter" idx="11"/>
          </p:nvPr>
        </p:nvSpPr>
        <p:spPr>
          <a:xfrm>
            <a:off x="4479359" y="3859468"/>
            <a:ext cx="4354126" cy="677333"/>
          </a:xfrm>
          <a:prstGeom prst="rect">
            <a:avLst/>
          </a:prstGeom>
        </p:spPr>
        <p:txBody>
          <a:bodyPr lIns="0" tIns="0" rIns="0" bIns="0">
            <a:noAutofit/>
          </a:bodyPr>
          <a:lstStyle>
            <a:lvl1pPr>
              <a:spcBef>
                <a:spcPts val="0"/>
              </a:spcBef>
              <a:spcAft>
                <a:spcPts val="0"/>
              </a:spcAft>
              <a:defRPr sz="1000">
                <a:solidFill>
                  <a:schemeClr val="tx1"/>
                </a:solidFill>
              </a:defRPr>
            </a:lvl1pPr>
          </a:lstStyle>
          <a:p>
            <a:pPr lvl="0"/>
            <a:r>
              <a:rPr lang="en-US" dirty="0"/>
              <a:t>Click to edit Master text styles</a:t>
            </a:r>
          </a:p>
        </p:txBody>
      </p:sp>
      <p:sp>
        <p:nvSpPr>
          <p:cNvPr id="8" name="Title 28"/>
          <p:cNvSpPr>
            <a:spLocks noGrp="1"/>
          </p:cNvSpPr>
          <p:nvPr>
            <p:ph type="title"/>
          </p:nvPr>
        </p:nvSpPr>
        <p:spPr>
          <a:xfrm>
            <a:off x="4479359" y="1229919"/>
            <a:ext cx="4343012" cy="1711401"/>
          </a:xfrm>
        </p:spPr>
        <p:txBody>
          <a:bodyPr>
            <a:noAutofit/>
          </a:bodyPr>
          <a:lstStyle>
            <a:lvl1pPr>
              <a:lnSpc>
                <a:spcPts val="2800"/>
              </a:lnSpc>
              <a:defRPr sz="2800">
                <a:solidFill>
                  <a:schemeClr val="tx1"/>
                </a:solidFill>
              </a:defRPr>
            </a:lvl1pPr>
          </a:lstStyle>
          <a:p>
            <a:r>
              <a:rPr lang="en-US" dirty="0"/>
              <a:t>Click to edit Master title style</a:t>
            </a:r>
          </a:p>
        </p:txBody>
      </p:sp>
      <p:sp>
        <p:nvSpPr>
          <p:cNvPr id="9" name="Text Placeholder 32"/>
          <p:cNvSpPr>
            <a:spLocks noGrp="1"/>
          </p:cNvSpPr>
          <p:nvPr>
            <p:ph type="body" sz="quarter" idx="13"/>
          </p:nvPr>
        </p:nvSpPr>
        <p:spPr>
          <a:xfrm>
            <a:off x="4479359" y="3165203"/>
            <a:ext cx="4327774" cy="601133"/>
          </a:xfrm>
          <a:prstGeom prst="rect">
            <a:avLst/>
          </a:prstGeom>
        </p:spPr>
        <p:txBody>
          <a:bodyPr lIns="0" tIns="0" rIns="0" bIns="0">
            <a:noAutofit/>
          </a:bodyPr>
          <a:lstStyle>
            <a:lvl1pPr>
              <a:defRPr>
                <a:solidFill>
                  <a:schemeClr val="tx1"/>
                </a:solidFill>
              </a:defRPr>
            </a:lvl1pPr>
          </a:lstStyle>
          <a:p>
            <a:pPr lvl="0"/>
            <a:r>
              <a:rPr lang="en-US" dirty="0"/>
              <a:t>Click to edit Master text styles</a:t>
            </a:r>
          </a:p>
        </p:txBody>
      </p:sp>
      <p:sp>
        <p:nvSpPr>
          <p:cNvPr id="12" name="Picture Placeholder 6"/>
          <p:cNvSpPr>
            <a:spLocks noGrp="1"/>
          </p:cNvSpPr>
          <p:nvPr>
            <p:ph type="pic" sz="quarter" idx="18" hasCustomPrompt="1"/>
          </p:nvPr>
        </p:nvSpPr>
        <p:spPr>
          <a:xfrm>
            <a:off x="7448550" y="5048250"/>
            <a:ext cx="1397000" cy="523478"/>
          </a:xfrm>
        </p:spPr>
        <p:txBody>
          <a:bodyPr/>
          <a:lstStyle>
            <a:lvl1pPr algn="ctr">
              <a:defRPr sz="800" b="1"/>
            </a:lvl1pPr>
          </a:lstStyle>
          <a:p>
            <a:r>
              <a:rPr lang="en-AU" dirty="0"/>
              <a:t>Client logo</a:t>
            </a:r>
            <a:endParaRPr lang="en-US" dirty="0"/>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74996" y="5121967"/>
            <a:ext cx="1304448" cy="449761"/>
          </a:xfrm>
          <a:prstGeom prst="rect">
            <a:avLst/>
          </a:prstGeom>
          <a:noFill/>
          <a:ln>
            <a:noFill/>
          </a:ln>
        </p:spPr>
      </p:pic>
      <p:sp>
        <p:nvSpPr>
          <p:cNvPr id="14" name="Date Placeholder 3"/>
          <p:cNvSpPr txBox="1">
            <a:spLocks/>
          </p:cNvSpPr>
          <p:nvPr userDrawn="1"/>
        </p:nvSpPr>
        <p:spPr>
          <a:xfrm>
            <a:off x="4509940" y="6081213"/>
            <a:ext cx="1269504" cy="216024"/>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900" dirty="0">
                <a:solidFill>
                  <a:schemeClr val="tx1"/>
                </a:solidFill>
                <a:latin typeface="Segoe UI" panose="020B0502040204020203" pitchFamily="34" charset="0"/>
                <a:ea typeface="Segoe UI" panose="020B0502040204020203" pitchFamily="34" charset="0"/>
                <a:cs typeface="Segoe UI" panose="020B0502040204020203" pitchFamily="34" charset="0"/>
              </a:rPr>
              <a:t>www.</a:t>
            </a:r>
            <a:r>
              <a:rPr lang="en-AU" sz="900" b="1" dirty="0">
                <a:solidFill>
                  <a:schemeClr val="tx1"/>
                </a:solidFill>
                <a:latin typeface="Segoe UI" panose="020B0502040204020203" pitchFamily="34" charset="0"/>
                <a:ea typeface="Segoe UI" panose="020B0502040204020203" pitchFamily="34" charset="0"/>
                <a:cs typeface="Segoe UI" panose="020B0502040204020203" pitchFamily="34" charset="0"/>
              </a:rPr>
              <a:t>advisian</a:t>
            </a:r>
            <a:r>
              <a:rPr lang="en-AU" sz="900" dirty="0">
                <a:solidFill>
                  <a:schemeClr val="tx1"/>
                </a:solidFill>
                <a:latin typeface="Segoe UI" panose="020B0502040204020203" pitchFamily="34" charset="0"/>
                <a:ea typeface="Segoe UI" panose="020B0502040204020203" pitchFamily="34" charset="0"/>
                <a:cs typeface="Segoe UI" panose="020B0502040204020203" pitchFamily="34" charset="0"/>
              </a:rPr>
              <a:t>.com</a:t>
            </a:r>
          </a:p>
        </p:txBody>
      </p:sp>
    </p:spTree>
    <p:extLst>
      <p:ext uri="{BB962C8B-B14F-4D97-AF65-F5344CB8AC3E}">
        <p14:creationId xmlns:p14="http://schemas.microsoft.com/office/powerpoint/2010/main" val="848472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Advisian Title &amp; Contents">
    <p:spTree>
      <p:nvGrpSpPr>
        <p:cNvPr id="1" name=""/>
        <p:cNvGrpSpPr/>
        <p:nvPr/>
      </p:nvGrpSpPr>
      <p:grpSpPr>
        <a:xfrm>
          <a:off x="0" y="0"/>
          <a:ext cx="0" cy="0"/>
          <a:chOff x="0" y="0"/>
          <a:chExt cx="0" cy="0"/>
        </a:xfrm>
      </p:grpSpPr>
      <p:sp>
        <p:nvSpPr>
          <p:cNvPr id="4" name="Title 3"/>
          <p:cNvSpPr>
            <a:spLocks noGrp="1"/>
          </p:cNvSpPr>
          <p:nvPr>
            <p:ph type="title"/>
          </p:nvPr>
        </p:nvSpPr>
        <p:spPr>
          <a:xfrm>
            <a:off x="611191" y="0"/>
            <a:ext cx="8137525" cy="836712"/>
          </a:xfrm>
        </p:spPr>
        <p:txBody>
          <a:bodyPr>
            <a:normAutofit/>
          </a:bodyPr>
          <a:lstStyle>
            <a:lvl1pPr>
              <a:defRPr sz="3200">
                <a:solidFill>
                  <a:srgbClr val="072838"/>
                </a:solidFill>
                <a:latin typeface="Franklin Gothic Medium Cond" panose="020B0606030402020204" pitchFamily="34" charset="0"/>
              </a:defRPr>
            </a:lvl1pPr>
          </a:lstStyle>
          <a:p>
            <a:r>
              <a:rPr lang="en-US" dirty="0"/>
              <a:t>Click to edit Master title style</a:t>
            </a:r>
            <a:endParaRPr lang="en-AU" dirty="0"/>
          </a:p>
        </p:txBody>
      </p:sp>
      <p:sp>
        <p:nvSpPr>
          <p:cNvPr id="8" name="Content Placeholder 7"/>
          <p:cNvSpPr>
            <a:spLocks noGrp="1"/>
          </p:cNvSpPr>
          <p:nvPr>
            <p:ph sz="quarter" idx="13"/>
          </p:nvPr>
        </p:nvSpPr>
        <p:spPr>
          <a:xfrm>
            <a:off x="611191" y="1196975"/>
            <a:ext cx="8154987" cy="5207000"/>
          </a:xfrm>
          <a:prstGeom prst="rect">
            <a:avLst/>
          </a:prstGeom>
        </p:spPr>
        <p:txBody>
          <a:bodyPr/>
          <a:lstStyle>
            <a:lvl1pPr>
              <a:buClr>
                <a:schemeClr val="accent6"/>
              </a:buClr>
              <a:defRPr/>
            </a:lvl1pPr>
            <a:lvl2pPr>
              <a:buClr>
                <a:schemeClr val="accent6"/>
              </a:buClr>
              <a:defRPr/>
            </a:lvl2pPr>
            <a:lvl3pPr>
              <a:buClr>
                <a:schemeClr val="accent6"/>
              </a:buClr>
              <a:defRPr/>
            </a:lvl3pPr>
            <a:lvl4pPr>
              <a:buClr>
                <a:schemeClr val="accent6"/>
              </a:buClr>
              <a:defRPr/>
            </a:lvl4pPr>
            <a:lvl5pPr>
              <a:buClr>
                <a:schemeClr val="accent6"/>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9" name="Slide Number Placeholder 8"/>
          <p:cNvSpPr>
            <a:spLocks noGrp="1"/>
          </p:cNvSpPr>
          <p:nvPr>
            <p:ph type="sldNum" sz="quarter" idx="17"/>
          </p:nvPr>
        </p:nvSpPr>
        <p:spPr>
          <a:xfrm>
            <a:off x="6553204" y="6427696"/>
            <a:ext cx="2195513" cy="293781"/>
          </a:xfrm>
          <a:prstGeom prst="rect">
            <a:avLst/>
          </a:prstGeom>
        </p:spPr>
        <p:txBody>
          <a:bodyPr/>
          <a:lstStyle/>
          <a:p>
            <a:r>
              <a:rPr lang="en-AU" dirty="0"/>
              <a:t> Advisian  </a:t>
            </a:r>
            <a:fld id="{CFD780AD-5876-4BCA-80DC-E96648A7269F}" type="slidenum">
              <a:rPr lang="en-AU" smtClean="0"/>
              <a:pPr/>
              <a:t>‹#›</a:t>
            </a:fld>
            <a:endParaRPr lang="en-AU" dirty="0"/>
          </a:p>
        </p:txBody>
      </p:sp>
    </p:spTree>
    <p:extLst>
      <p:ext uri="{BB962C8B-B14F-4D97-AF65-F5344CB8AC3E}">
        <p14:creationId xmlns:p14="http://schemas.microsoft.com/office/powerpoint/2010/main" val="468617097"/>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userDrawn="1">
  <p:cSld name="Advisian Title no content">
    <p:spTree>
      <p:nvGrpSpPr>
        <p:cNvPr id="1" name=""/>
        <p:cNvGrpSpPr/>
        <p:nvPr/>
      </p:nvGrpSpPr>
      <p:grpSpPr>
        <a:xfrm>
          <a:off x="0" y="0"/>
          <a:ext cx="0" cy="0"/>
          <a:chOff x="0" y="0"/>
          <a:chExt cx="0" cy="0"/>
        </a:xfrm>
      </p:grpSpPr>
      <p:sp>
        <p:nvSpPr>
          <p:cNvPr id="2" name="Title 1"/>
          <p:cNvSpPr>
            <a:spLocks noGrp="1"/>
          </p:cNvSpPr>
          <p:nvPr>
            <p:ph type="title"/>
          </p:nvPr>
        </p:nvSpPr>
        <p:spPr>
          <a:xfrm>
            <a:off x="788343" y="47624"/>
            <a:ext cx="8136904" cy="807307"/>
          </a:xfrm>
        </p:spPr>
        <p:txBody>
          <a:bodyPr/>
          <a:lstStyle/>
          <a:p>
            <a:r>
              <a:rPr lang="en-US"/>
              <a:t>Click to edit Master title style</a:t>
            </a:r>
            <a:endParaRPr lang="en-AU" dirty="0"/>
          </a:p>
        </p:txBody>
      </p:sp>
      <p:sp>
        <p:nvSpPr>
          <p:cNvPr id="3" name="Slide Number Placeholder 2"/>
          <p:cNvSpPr>
            <a:spLocks noGrp="1"/>
          </p:cNvSpPr>
          <p:nvPr>
            <p:ph type="sldNum" sz="quarter" idx="10"/>
          </p:nvPr>
        </p:nvSpPr>
        <p:spPr>
          <a:xfrm>
            <a:off x="476250" y="6534870"/>
            <a:ext cx="8344222" cy="189781"/>
          </a:xfrm>
          <a:prstGeom prst="rect">
            <a:avLst/>
          </a:prstGeom>
        </p:spPr>
        <p:txBody>
          <a:bodyPr/>
          <a:lstStyle>
            <a:lvl1pPr>
              <a:defRPr>
                <a:solidFill>
                  <a:schemeClr val="bg1">
                    <a:lumMod val="50000"/>
                  </a:schemeClr>
                </a:solidFill>
              </a:defRPr>
            </a:lvl1pPr>
          </a:lstStyle>
          <a:p>
            <a:r>
              <a:rPr lang="en-AU" dirty="0"/>
              <a:t> Advisian  / </a:t>
            </a:r>
            <a:fld id="{CFD780AD-5876-4BCA-80DC-E96648A7269F}" type="slidenum">
              <a:rPr lang="en-AU" smtClean="0"/>
              <a:pPr/>
              <a:t>‹#›</a:t>
            </a:fld>
            <a:endParaRPr lang="en-AU" dirty="0"/>
          </a:p>
        </p:txBody>
      </p:sp>
    </p:spTree>
    <p:extLst>
      <p:ext uri="{BB962C8B-B14F-4D97-AF65-F5344CB8AC3E}">
        <p14:creationId xmlns:p14="http://schemas.microsoft.com/office/powerpoint/2010/main" val="3898658805"/>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ody - 1 column whit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08"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0"/>
          </p:nvPr>
        </p:nvSpPr>
        <p:spPr>
          <a:xfrm>
            <a:off x="601663" y="1828800"/>
            <a:ext cx="7945200" cy="4673600"/>
          </a:xfrm>
          <a:prstGeom prst="rect">
            <a:avLst/>
          </a:prstGeom>
        </p:spPr>
        <p:txBody>
          <a:bodyPr lIns="0" tIns="0" rIns="0" bIns="0"/>
          <a:lstStyle>
            <a:lvl1pPr marL="0" indent="0">
              <a:buClrTx/>
              <a:buFont typeface="Arial" panose="020B0604020202020204" pitchFamily="34" charset="0"/>
              <a:buNone/>
              <a:defRPr/>
            </a:lvl1pPr>
            <a:lvl3pPr marL="715963" indent="-357188">
              <a:buFont typeface="Segoe UI" panose="020B0502040204020203" pitchFamily="34" charset="0"/>
              <a:buChar char="̵"/>
              <a:defRPr/>
            </a:lvl3pPr>
            <a:lvl5pPr marL="1431925" indent="-357188">
              <a:buFont typeface="Segoe UI" panose="020B0502040204020203"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1"/>
          </p:nvPr>
        </p:nvSpPr>
        <p:spPr/>
        <p:txBody>
          <a:bodyPr/>
          <a:lstStyle/>
          <a:p>
            <a:r>
              <a:rPr lang="en-US"/>
              <a:t>Timesaver Template</a:t>
            </a:r>
          </a:p>
        </p:txBody>
      </p:sp>
      <p:sp>
        <p:nvSpPr>
          <p:cNvPr id="4" name="Slide Number Placeholder 3"/>
          <p:cNvSpPr>
            <a:spLocks noGrp="1"/>
          </p:cNvSpPr>
          <p:nvPr>
            <p:ph type="sldNum" sz="quarter" idx="12"/>
          </p:nvPr>
        </p:nvSpPr>
        <p:spPr/>
        <p:txBody>
          <a:bodyPr/>
          <a:lstStyle/>
          <a:p>
            <a:fld id="{92D0FD2A-77A2-4D72-8810-21B59CAC11F0}" type="slidenum">
              <a:rPr lang="en-US" smtClean="0"/>
              <a:pPr/>
              <a:t>‹#›</a:t>
            </a:fld>
            <a:endParaRPr lang="en-US"/>
          </a:p>
        </p:txBody>
      </p:sp>
      <p:sp>
        <p:nvSpPr>
          <p:cNvPr id="8" name="Content Placeholder 7">
            <a:extLst>
              <a:ext uri="{FF2B5EF4-FFF2-40B4-BE49-F238E27FC236}">
                <a16:creationId xmlns:a16="http://schemas.microsoft.com/office/drawing/2014/main" id="{8553EB22-B929-409B-B015-A42152E1B76D}"/>
              </a:ext>
            </a:extLst>
          </p:cNvPr>
          <p:cNvSpPr>
            <a:spLocks noGrp="1"/>
          </p:cNvSpPr>
          <p:nvPr>
            <p:ph sz="quarter" idx="13"/>
          </p:nvPr>
        </p:nvSpPr>
        <p:spPr>
          <a:xfrm>
            <a:off x="7697788" y="6659563"/>
            <a:ext cx="914400" cy="91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841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ody - 2 column white">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600079" y="1828801"/>
            <a:ext cx="3857623" cy="4648201"/>
          </a:xfrm>
          <a:prstGeom prst="rect">
            <a:avLst/>
          </a:prstGeom>
        </p:spPr>
        <p:txBody>
          <a:bodyPr lIns="0" tIns="0" rIns="0" bIns="0">
            <a:noAutofit/>
          </a:bodyPr>
          <a:lstStyle>
            <a:lvl1pPr>
              <a:defRPr sz="1600" b="0">
                <a:latin typeface="+mn-lt"/>
              </a:defRPr>
            </a:lvl1pPr>
            <a:lvl2pPr>
              <a:defRPr sz="1600" b="0">
                <a:latin typeface="+mn-lt"/>
              </a:defRPr>
            </a:lvl2pPr>
            <a:lvl3pPr marL="715963" indent="-357188">
              <a:buFont typeface="Segoe UI" panose="020B0502040204020203" pitchFamily="34" charset="0"/>
              <a:buChar char="̵"/>
              <a:defRPr sz="1600" b="0">
                <a:latin typeface="+mn-lt"/>
              </a:defRPr>
            </a:lvl3pPr>
            <a:lvl4pPr>
              <a:defRPr sz="1600" b="0">
                <a:latin typeface="+mn-lt"/>
              </a:defRPr>
            </a:lvl4pPr>
            <a:lvl5pPr marL="1431925" indent="-357188">
              <a:buFont typeface="Segoe UI" panose="020B0502040204020203" pitchFamily="34" charset="0"/>
              <a:buChar char="̵"/>
              <a:defRPr sz="1600"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6"/>
          <p:cNvSpPr>
            <a:spLocks noGrp="1"/>
          </p:cNvSpPr>
          <p:nvPr>
            <p:ph sz="quarter" idx="12"/>
          </p:nvPr>
        </p:nvSpPr>
        <p:spPr>
          <a:xfrm>
            <a:off x="4689478" y="1828801"/>
            <a:ext cx="3857623" cy="4648201"/>
          </a:xfrm>
          <a:prstGeom prst="rect">
            <a:avLst/>
          </a:prstGeom>
        </p:spPr>
        <p:txBody>
          <a:bodyPr lIns="0" tIns="0" rIns="0" bIns="0">
            <a:noAutofit/>
          </a:bodyPr>
          <a:lstStyle>
            <a:lvl1pPr>
              <a:defRPr sz="1600" b="0">
                <a:latin typeface="+mn-lt"/>
              </a:defRPr>
            </a:lvl1pPr>
            <a:lvl2pPr>
              <a:defRPr sz="1600" b="0">
                <a:latin typeface="+mn-lt"/>
              </a:defRPr>
            </a:lvl2pPr>
            <a:lvl3pPr marL="715963" indent="-357188">
              <a:buFont typeface="Segoe UI" panose="020B0502040204020203" pitchFamily="34" charset="0"/>
              <a:buChar char="̵"/>
              <a:defRPr sz="1600" b="0">
                <a:latin typeface="+mn-lt"/>
              </a:defRPr>
            </a:lvl3pPr>
            <a:lvl4pPr>
              <a:defRPr sz="1600" b="0">
                <a:latin typeface="+mn-lt"/>
              </a:defRPr>
            </a:lvl4pPr>
            <a:lvl5pPr marL="1431925" indent="-357188">
              <a:buFont typeface="Segoe UI" panose="020B0502040204020203" pitchFamily="34" charset="0"/>
              <a:buChar char="̵"/>
              <a:defRPr sz="1600"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noAutofit/>
          </a:bodyPr>
          <a:lstStyle/>
          <a:p>
            <a:r>
              <a:rPr lang="en-US"/>
              <a:t>Click to edit Master title style</a:t>
            </a:r>
          </a:p>
        </p:txBody>
      </p:sp>
      <p:sp>
        <p:nvSpPr>
          <p:cNvPr id="3" name="Footer Placeholder 2"/>
          <p:cNvSpPr>
            <a:spLocks noGrp="1"/>
          </p:cNvSpPr>
          <p:nvPr>
            <p:ph type="ftr" sz="quarter" idx="13"/>
          </p:nvPr>
        </p:nvSpPr>
        <p:spPr/>
        <p:txBody>
          <a:bodyPr/>
          <a:lstStyle/>
          <a:p>
            <a:r>
              <a:rPr lang="en-US"/>
              <a:t>Timesaver Template</a:t>
            </a:r>
          </a:p>
        </p:txBody>
      </p:sp>
      <p:sp>
        <p:nvSpPr>
          <p:cNvPr id="4" name="Slide Number Placeholder 3"/>
          <p:cNvSpPr>
            <a:spLocks noGrp="1"/>
          </p:cNvSpPr>
          <p:nvPr>
            <p:ph type="sldNum" sz="quarter" idx="14"/>
          </p:nvPr>
        </p:nvSpPr>
        <p:spPr/>
        <p:txBody>
          <a:bodyPr/>
          <a:lstStyle/>
          <a:p>
            <a:fld id="{92D0FD2A-77A2-4D72-8810-21B59CAC11F0}" type="slidenum">
              <a:rPr lang="en-US" smtClean="0"/>
              <a:pPr/>
              <a:t>‹#›</a:t>
            </a:fld>
            <a:endParaRPr lang="en-US"/>
          </a:p>
        </p:txBody>
      </p:sp>
    </p:spTree>
    <p:extLst>
      <p:ext uri="{BB962C8B-B14F-4D97-AF65-F5344CB8AC3E}">
        <p14:creationId xmlns:p14="http://schemas.microsoft.com/office/powerpoint/2010/main" val="97005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ody - 3 column white">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600077" y="1841500"/>
            <a:ext cx="2486024" cy="4635501"/>
          </a:xfrm>
          <a:prstGeom prst="rect">
            <a:avLst/>
          </a:prstGeom>
        </p:spPr>
        <p:txBody>
          <a:bodyPr lIns="0" tIns="0" rIns="0" bIns="0" numCol="1">
            <a:noAutofit/>
          </a:bodyPr>
          <a:lstStyle>
            <a:lvl1pPr>
              <a:defRPr sz="1600" b="0">
                <a:latin typeface="+mn-lt"/>
              </a:defRPr>
            </a:lvl1pPr>
            <a:lvl2pPr>
              <a:defRPr sz="1600" b="0">
                <a:latin typeface="+mn-lt"/>
              </a:defRPr>
            </a:lvl2pPr>
            <a:lvl3pPr marL="715963" indent="-357188">
              <a:buFont typeface="Segoe UI" panose="020B0502040204020203" pitchFamily="34" charset="0"/>
              <a:buChar char="̵"/>
              <a:defRPr sz="1600" b="0">
                <a:latin typeface="+mn-lt"/>
              </a:defRPr>
            </a:lvl3pPr>
            <a:lvl4pPr>
              <a:defRPr sz="1600" b="0">
                <a:latin typeface="+mn-lt"/>
              </a:defRPr>
            </a:lvl4pPr>
            <a:lvl5pPr marL="1431925" indent="-357188">
              <a:buFont typeface="Segoe UI" panose="020B0502040204020203" pitchFamily="34" charset="0"/>
              <a:buChar char="̵"/>
              <a:defRPr sz="1600"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6"/>
          <p:cNvSpPr>
            <a:spLocks noGrp="1"/>
          </p:cNvSpPr>
          <p:nvPr>
            <p:ph sz="quarter" idx="12"/>
          </p:nvPr>
        </p:nvSpPr>
        <p:spPr>
          <a:xfrm>
            <a:off x="3336927" y="1841500"/>
            <a:ext cx="2486024" cy="4635501"/>
          </a:xfrm>
          <a:prstGeom prst="rect">
            <a:avLst/>
          </a:prstGeom>
        </p:spPr>
        <p:txBody>
          <a:bodyPr lIns="0" tIns="0" rIns="0" bIns="0" numCol="1">
            <a:noAutofit/>
          </a:bodyPr>
          <a:lstStyle>
            <a:lvl1pPr>
              <a:defRPr sz="1600" b="0">
                <a:latin typeface="+mn-lt"/>
              </a:defRPr>
            </a:lvl1pPr>
            <a:lvl2pPr>
              <a:defRPr sz="1600" b="0">
                <a:latin typeface="+mn-lt"/>
              </a:defRPr>
            </a:lvl2pPr>
            <a:lvl3pPr marL="715963" indent="-357188">
              <a:buFont typeface="Segoe UI" panose="020B0502040204020203" pitchFamily="34" charset="0"/>
              <a:buChar char="̵"/>
              <a:defRPr sz="1600" b="0">
                <a:latin typeface="+mn-lt"/>
              </a:defRPr>
            </a:lvl3pPr>
            <a:lvl4pPr>
              <a:defRPr sz="1600" b="0">
                <a:latin typeface="+mn-lt"/>
              </a:defRPr>
            </a:lvl4pPr>
            <a:lvl5pPr marL="1431925" indent="-357188">
              <a:buFont typeface="Segoe UI" panose="020B0502040204020203" pitchFamily="34" charset="0"/>
              <a:buChar char="̵"/>
              <a:defRPr sz="1600"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6"/>
          <p:cNvSpPr>
            <a:spLocks noGrp="1"/>
          </p:cNvSpPr>
          <p:nvPr>
            <p:ph sz="quarter" idx="13"/>
          </p:nvPr>
        </p:nvSpPr>
        <p:spPr>
          <a:xfrm>
            <a:off x="6067427" y="1841500"/>
            <a:ext cx="2490786" cy="4635501"/>
          </a:xfrm>
          <a:prstGeom prst="rect">
            <a:avLst/>
          </a:prstGeom>
        </p:spPr>
        <p:txBody>
          <a:bodyPr lIns="0" tIns="0" rIns="0" bIns="0" numCol="1">
            <a:noAutofit/>
          </a:bodyPr>
          <a:lstStyle>
            <a:lvl1pPr>
              <a:defRPr sz="1600" b="0">
                <a:latin typeface="+mn-lt"/>
              </a:defRPr>
            </a:lvl1pPr>
            <a:lvl2pPr>
              <a:defRPr sz="1600" b="0">
                <a:latin typeface="+mn-lt"/>
              </a:defRPr>
            </a:lvl2pPr>
            <a:lvl3pPr marL="715963" indent="-357188">
              <a:buFont typeface="Segoe UI" panose="020B0502040204020203" pitchFamily="34" charset="0"/>
              <a:buChar char="̵"/>
              <a:defRPr sz="1600" b="0">
                <a:latin typeface="+mn-lt"/>
              </a:defRPr>
            </a:lvl3pPr>
            <a:lvl4pPr>
              <a:defRPr sz="1600" b="0">
                <a:latin typeface="+mn-lt"/>
              </a:defRPr>
            </a:lvl4pPr>
            <a:lvl5pPr marL="1431925" indent="-357188">
              <a:buFont typeface="Segoe UI" panose="020B0502040204020203" pitchFamily="34" charset="0"/>
              <a:buChar char="̵"/>
              <a:defRPr sz="1600"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noAutofit/>
          </a:bodyPr>
          <a:lstStyle/>
          <a:p>
            <a:r>
              <a:rPr lang="en-US"/>
              <a:t>Click to edit Master title style</a:t>
            </a:r>
          </a:p>
        </p:txBody>
      </p:sp>
      <p:sp>
        <p:nvSpPr>
          <p:cNvPr id="3" name="Footer Placeholder 2"/>
          <p:cNvSpPr>
            <a:spLocks noGrp="1"/>
          </p:cNvSpPr>
          <p:nvPr>
            <p:ph type="ftr" sz="quarter" idx="14"/>
          </p:nvPr>
        </p:nvSpPr>
        <p:spPr/>
        <p:txBody>
          <a:bodyPr/>
          <a:lstStyle/>
          <a:p>
            <a:r>
              <a:rPr lang="en-US"/>
              <a:t>Timesaver Template</a:t>
            </a:r>
          </a:p>
        </p:txBody>
      </p:sp>
      <p:sp>
        <p:nvSpPr>
          <p:cNvPr id="4" name="Slide Number Placeholder 3"/>
          <p:cNvSpPr>
            <a:spLocks noGrp="1"/>
          </p:cNvSpPr>
          <p:nvPr>
            <p:ph type="sldNum" sz="quarter" idx="15"/>
          </p:nvPr>
        </p:nvSpPr>
        <p:spPr/>
        <p:txBody>
          <a:bodyPr/>
          <a:lstStyle/>
          <a:p>
            <a:fld id="{92D0FD2A-77A2-4D72-8810-21B59CAC11F0}" type="slidenum">
              <a:rPr lang="en-US" smtClean="0"/>
              <a:pPr/>
              <a:t>‹#›</a:t>
            </a:fld>
            <a:endParaRPr lang="en-US"/>
          </a:p>
        </p:txBody>
      </p:sp>
    </p:spTree>
    <p:extLst>
      <p:ext uri="{BB962C8B-B14F-4D97-AF65-F5344CB8AC3E}">
        <p14:creationId xmlns:p14="http://schemas.microsoft.com/office/powerpoint/2010/main" val="422607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ver 1 - white">
    <p:bg>
      <p:bgPr>
        <a:solidFill>
          <a:schemeClr val="bg1"/>
        </a:solidFill>
        <a:effectLst/>
      </p:bgPr>
    </p:bg>
    <p:spTree>
      <p:nvGrpSpPr>
        <p:cNvPr id="1" name=""/>
        <p:cNvGrpSpPr/>
        <p:nvPr/>
      </p:nvGrpSpPr>
      <p:grpSpPr>
        <a:xfrm>
          <a:off x="0" y="0"/>
          <a:ext cx="0" cy="0"/>
          <a:chOff x="0" y="0"/>
          <a:chExt cx="0" cy="0"/>
        </a:xfrm>
      </p:grpSpPr>
      <p:sp>
        <p:nvSpPr>
          <p:cNvPr id="28" name="Text Placeholder 26"/>
          <p:cNvSpPr>
            <a:spLocks noGrp="1"/>
          </p:cNvSpPr>
          <p:nvPr>
            <p:ph type="body" sz="quarter" idx="11"/>
          </p:nvPr>
        </p:nvSpPr>
        <p:spPr>
          <a:xfrm>
            <a:off x="3170548" y="4240468"/>
            <a:ext cx="4354126" cy="677333"/>
          </a:xfrm>
          <a:prstGeom prst="rect">
            <a:avLst/>
          </a:prstGeom>
        </p:spPr>
        <p:txBody>
          <a:bodyPr lIns="0" tIns="0" rIns="0" bIns="0">
            <a:noAutofit/>
          </a:bodyPr>
          <a:lstStyle>
            <a:lvl1pPr>
              <a:spcBef>
                <a:spcPts val="0"/>
              </a:spcBef>
              <a:spcAft>
                <a:spcPts val="0"/>
              </a:spcAft>
              <a:defRPr sz="1000">
                <a:solidFill>
                  <a:schemeClr val="tx1"/>
                </a:solidFill>
              </a:defRPr>
            </a:lvl1pPr>
          </a:lstStyle>
          <a:p>
            <a:pPr lvl="0"/>
            <a:r>
              <a:rPr lang="en-US" dirty="0"/>
              <a:t>Click to edit Master text styles</a:t>
            </a:r>
          </a:p>
        </p:txBody>
      </p:sp>
      <p:sp>
        <p:nvSpPr>
          <p:cNvPr id="29" name="Title 28"/>
          <p:cNvSpPr>
            <a:spLocks noGrp="1"/>
          </p:cNvSpPr>
          <p:nvPr>
            <p:ph type="title"/>
          </p:nvPr>
        </p:nvSpPr>
        <p:spPr>
          <a:xfrm>
            <a:off x="3170548" y="1610919"/>
            <a:ext cx="4343012" cy="1711401"/>
          </a:xfrm>
        </p:spPr>
        <p:txBody>
          <a:bodyPr>
            <a:noAutofit/>
          </a:bodyPr>
          <a:lstStyle>
            <a:lvl1pPr>
              <a:lnSpc>
                <a:spcPts val="2800"/>
              </a:lnSpc>
              <a:defRPr sz="2800">
                <a:solidFill>
                  <a:schemeClr val="tx1"/>
                </a:solidFill>
              </a:defRPr>
            </a:lvl1pPr>
          </a:lstStyle>
          <a:p>
            <a:r>
              <a:rPr lang="en-US" dirty="0"/>
              <a:t>Click to edit Master title style</a:t>
            </a:r>
          </a:p>
        </p:txBody>
      </p:sp>
      <p:sp>
        <p:nvSpPr>
          <p:cNvPr id="33" name="Text Placeholder 32"/>
          <p:cNvSpPr>
            <a:spLocks noGrp="1"/>
          </p:cNvSpPr>
          <p:nvPr>
            <p:ph type="body" sz="quarter" idx="12"/>
          </p:nvPr>
        </p:nvSpPr>
        <p:spPr>
          <a:xfrm>
            <a:off x="3170548" y="3546203"/>
            <a:ext cx="4327774" cy="601133"/>
          </a:xfrm>
          <a:prstGeom prst="rect">
            <a:avLst/>
          </a:prstGeom>
        </p:spPr>
        <p:txBody>
          <a:bodyPr lIns="0" tIns="0" rIns="0" bIns="0">
            <a:noAutofit/>
          </a:bodyPr>
          <a:lstStyle>
            <a:lvl1pPr>
              <a:defRPr>
                <a:solidFill>
                  <a:schemeClr val="tx1"/>
                </a:solidFill>
              </a:defRPr>
            </a:lvl1pPr>
          </a:lstStyle>
          <a:p>
            <a:pPr lvl="0"/>
            <a:r>
              <a:rPr lang="en-US" dirty="0"/>
              <a:t>Click to edit Master text styles</a:t>
            </a:r>
          </a:p>
        </p:txBody>
      </p:sp>
      <p:sp>
        <p:nvSpPr>
          <p:cNvPr id="3" name="Picture Placeholder 2"/>
          <p:cNvSpPr>
            <a:spLocks noGrp="1"/>
          </p:cNvSpPr>
          <p:nvPr>
            <p:ph type="pic" sz="quarter" idx="15" hasCustomPrompt="1"/>
          </p:nvPr>
        </p:nvSpPr>
        <p:spPr>
          <a:xfrm>
            <a:off x="-38100" y="-45720"/>
            <a:ext cx="9228138" cy="6957060"/>
          </a:xfrm>
          <a:custGeom>
            <a:avLst/>
            <a:gdLst>
              <a:gd name="connsiteX0" fmla="*/ 0 w 9228138"/>
              <a:gd name="connsiteY0" fmla="*/ 0 h 6934200"/>
              <a:gd name="connsiteX1" fmla="*/ 9228138 w 9228138"/>
              <a:gd name="connsiteY1" fmla="*/ 0 h 6934200"/>
              <a:gd name="connsiteX2" fmla="*/ 9228138 w 9228138"/>
              <a:gd name="connsiteY2" fmla="*/ 6934200 h 6934200"/>
              <a:gd name="connsiteX3" fmla="*/ 0 w 9228138"/>
              <a:gd name="connsiteY3" fmla="*/ 6934200 h 6934200"/>
              <a:gd name="connsiteX4" fmla="*/ 0 w 9228138"/>
              <a:gd name="connsiteY4" fmla="*/ 0 h 6934200"/>
              <a:gd name="connsiteX0" fmla="*/ 0 w 9228138"/>
              <a:gd name="connsiteY0" fmla="*/ 7620 h 6941820"/>
              <a:gd name="connsiteX1" fmla="*/ 3909060 w 9228138"/>
              <a:gd name="connsiteY1" fmla="*/ 0 h 6941820"/>
              <a:gd name="connsiteX2" fmla="*/ 9228138 w 9228138"/>
              <a:gd name="connsiteY2" fmla="*/ 7620 h 6941820"/>
              <a:gd name="connsiteX3" fmla="*/ 9228138 w 9228138"/>
              <a:gd name="connsiteY3" fmla="*/ 6941820 h 6941820"/>
              <a:gd name="connsiteX4" fmla="*/ 0 w 9228138"/>
              <a:gd name="connsiteY4" fmla="*/ 6941820 h 6941820"/>
              <a:gd name="connsiteX5" fmla="*/ 0 w 9228138"/>
              <a:gd name="connsiteY5" fmla="*/ 7620 h 6941820"/>
              <a:gd name="connsiteX0" fmla="*/ 0 w 9228138"/>
              <a:gd name="connsiteY0" fmla="*/ 15240 h 6949440"/>
              <a:gd name="connsiteX1" fmla="*/ 3909060 w 9228138"/>
              <a:gd name="connsiteY1" fmla="*/ 7620 h 6949440"/>
              <a:gd name="connsiteX2" fmla="*/ 6088380 w 9228138"/>
              <a:gd name="connsiteY2" fmla="*/ 0 h 6949440"/>
              <a:gd name="connsiteX3" fmla="*/ 9228138 w 9228138"/>
              <a:gd name="connsiteY3" fmla="*/ 15240 h 6949440"/>
              <a:gd name="connsiteX4" fmla="*/ 9228138 w 9228138"/>
              <a:gd name="connsiteY4" fmla="*/ 6949440 h 6949440"/>
              <a:gd name="connsiteX5" fmla="*/ 0 w 9228138"/>
              <a:gd name="connsiteY5" fmla="*/ 6949440 h 6949440"/>
              <a:gd name="connsiteX6" fmla="*/ 0 w 9228138"/>
              <a:gd name="connsiteY6" fmla="*/ 15240 h 6949440"/>
              <a:gd name="connsiteX0" fmla="*/ 0 w 9228138"/>
              <a:gd name="connsiteY0" fmla="*/ 7620 h 6957060"/>
              <a:gd name="connsiteX1" fmla="*/ 3909060 w 9228138"/>
              <a:gd name="connsiteY1" fmla="*/ 0 h 6957060"/>
              <a:gd name="connsiteX2" fmla="*/ 1272540 w 9228138"/>
              <a:gd name="connsiteY2" fmla="*/ 6957060 h 6957060"/>
              <a:gd name="connsiteX3" fmla="*/ 9228138 w 9228138"/>
              <a:gd name="connsiteY3" fmla="*/ 7620 h 6957060"/>
              <a:gd name="connsiteX4" fmla="*/ 9228138 w 9228138"/>
              <a:gd name="connsiteY4" fmla="*/ 6941820 h 6957060"/>
              <a:gd name="connsiteX5" fmla="*/ 0 w 9228138"/>
              <a:gd name="connsiteY5" fmla="*/ 6941820 h 6957060"/>
              <a:gd name="connsiteX6" fmla="*/ 0 w 9228138"/>
              <a:gd name="connsiteY6" fmla="*/ 7620 h 6957060"/>
              <a:gd name="connsiteX0" fmla="*/ 0 w 9228138"/>
              <a:gd name="connsiteY0" fmla="*/ 7620 h 6957060"/>
              <a:gd name="connsiteX1" fmla="*/ 3909060 w 9228138"/>
              <a:gd name="connsiteY1" fmla="*/ 0 h 6957060"/>
              <a:gd name="connsiteX2" fmla="*/ 1272540 w 9228138"/>
              <a:gd name="connsiteY2" fmla="*/ 6957060 h 6957060"/>
              <a:gd name="connsiteX3" fmla="*/ 7947660 w 9228138"/>
              <a:gd name="connsiteY3" fmla="*/ 1104900 h 6957060"/>
              <a:gd name="connsiteX4" fmla="*/ 9228138 w 9228138"/>
              <a:gd name="connsiteY4" fmla="*/ 7620 h 6957060"/>
              <a:gd name="connsiteX5" fmla="*/ 9228138 w 9228138"/>
              <a:gd name="connsiteY5" fmla="*/ 6941820 h 6957060"/>
              <a:gd name="connsiteX6" fmla="*/ 0 w 9228138"/>
              <a:gd name="connsiteY6" fmla="*/ 6941820 h 6957060"/>
              <a:gd name="connsiteX7" fmla="*/ 0 w 9228138"/>
              <a:gd name="connsiteY7" fmla="*/ 7620 h 6957060"/>
              <a:gd name="connsiteX0" fmla="*/ 0 w 9228138"/>
              <a:gd name="connsiteY0" fmla="*/ 7620 h 6957060"/>
              <a:gd name="connsiteX1" fmla="*/ 3909060 w 9228138"/>
              <a:gd name="connsiteY1" fmla="*/ 0 h 6957060"/>
              <a:gd name="connsiteX2" fmla="*/ 1272540 w 9228138"/>
              <a:gd name="connsiteY2" fmla="*/ 6957060 h 6957060"/>
              <a:gd name="connsiteX3" fmla="*/ 6591300 w 9228138"/>
              <a:gd name="connsiteY3" fmla="*/ 6934200 h 6957060"/>
              <a:gd name="connsiteX4" fmla="*/ 9228138 w 9228138"/>
              <a:gd name="connsiteY4" fmla="*/ 7620 h 6957060"/>
              <a:gd name="connsiteX5" fmla="*/ 9228138 w 9228138"/>
              <a:gd name="connsiteY5" fmla="*/ 6941820 h 6957060"/>
              <a:gd name="connsiteX6" fmla="*/ 0 w 9228138"/>
              <a:gd name="connsiteY6" fmla="*/ 6941820 h 6957060"/>
              <a:gd name="connsiteX7" fmla="*/ 0 w 9228138"/>
              <a:gd name="connsiteY7" fmla="*/ 7620 h 6957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28138" h="6957060">
                <a:moveTo>
                  <a:pt x="0" y="7620"/>
                </a:moveTo>
                <a:lnTo>
                  <a:pt x="3909060" y="0"/>
                </a:lnTo>
                <a:lnTo>
                  <a:pt x="1272540" y="6957060"/>
                </a:lnTo>
                <a:lnTo>
                  <a:pt x="6591300" y="6934200"/>
                </a:lnTo>
                <a:lnTo>
                  <a:pt x="9228138" y="7620"/>
                </a:lnTo>
                <a:lnTo>
                  <a:pt x="9228138" y="6941820"/>
                </a:lnTo>
                <a:lnTo>
                  <a:pt x="0" y="6941820"/>
                </a:lnTo>
                <a:lnTo>
                  <a:pt x="0" y="7620"/>
                </a:lnTo>
                <a:close/>
              </a:path>
            </a:pathLst>
          </a:custGeom>
          <a:solidFill>
            <a:schemeClr val="bg1">
              <a:lumMod val="65000"/>
            </a:schemeClr>
          </a:solidFill>
        </p:spPr>
        <p:txBody>
          <a:bodyPr lIns="216000" tIns="3348000"/>
          <a:lstStyle>
            <a:lvl1pPr>
              <a:defRPr b="1" baseline="0">
                <a:solidFill>
                  <a:schemeClr val="tx2"/>
                </a:solidFill>
              </a:defRPr>
            </a:lvl1pPr>
          </a:lstStyle>
          <a:p>
            <a:r>
              <a:rPr lang="en-AU" dirty="0"/>
              <a:t>Click on icon to import picture -&gt;&gt;&gt;&gt;</a:t>
            </a:r>
            <a:endParaRPr lang="en-US" dirty="0"/>
          </a:p>
        </p:txBody>
      </p:sp>
      <p:sp>
        <p:nvSpPr>
          <p:cNvPr id="4" name="Picture Placeholder 3"/>
          <p:cNvSpPr>
            <a:spLocks noGrp="1"/>
          </p:cNvSpPr>
          <p:nvPr>
            <p:ph type="pic" sz="quarter" idx="16"/>
          </p:nvPr>
        </p:nvSpPr>
        <p:spPr>
          <a:xfrm>
            <a:off x="5521345" y="5289208"/>
            <a:ext cx="1413098" cy="486117"/>
          </a:xfrm>
        </p:spPr>
        <p:txBody>
          <a:bodyPr/>
          <a:lstStyle>
            <a:lvl1pPr algn="ctr">
              <a:defRPr sz="800" b="1"/>
            </a:lvl1pPr>
          </a:lstStyle>
          <a:p>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70548" y="5346848"/>
            <a:ext cx="1304448" cy="449761"/>
          </a:xfrm>
          <a:prstGeom prst="rect">
            <a:avLst/>
          </a:prstGeom>
          <a:noFill/>
          <a:ln>
            <a:noFill/>
          </a:ln>
        </p:spPr>
      </p:pic>
      <p:sp>
        <p:nvSpPr>
          <p:cNvPr id="12" name="Date Placeholder 3"/>
          <p:cNvSpPr txBox="1">
            <a:spLocks/>
          </p:cNvSpPr>
          <p:nvPr userDrawn="1"/>
        </p:nvSpPr>
        <p:spPr>
          <a:xfrm>
            <a:off x="3205492" y="6306094"/>
            <a:ext cx="1269504" cy="216024"/>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900" dirty="0">
                <a:solidFill>
                  <a:schemeClr val="bg1"/>
                </a:solidFill>
                <a:latin typeface="Segoe UI" panose="020B0502040204020203" pitchFamily="34" charset="0"/>
                <a:ea typeface="Segoe UI" panose="020B0502040204020203" pitchFamily="34" charset="0"/>
                <a:cs typeface="Segoe UI" panose="020B0502040204020203" pitchFamily="34" charset="0"/>
              </a:rPr>
              <a:t>www.</a:t>
            </a:r>
            <a:r>
              <a:rPr lang="en-AU" sz="900" b="1" dirty="0">
                <a:solidFill>
                  <a:schemeClr val="bg1"/>
                </a:solidFill>
                <a:latin typeface="Segoe UI" panose="020B0502040204020203" pitchFamily="34" charset="0"/>
                <a:ea typeface="Segoe UI" panose="020B0502040204020203" pitchFamily="34" charset="0"/>
                <a:cs typeface="Segoe UI" panose="020B0502040204020203" pitchFamily="34" charset="0"/>
              </a:rPr>
              <a:t>advisian</a:t>
            </a:r>
            <a:r>
              <a:rPr lang="en-AU" sz="900" dirty="0">
                <a:solidFill>
                  <a:schemeClr val="bg1"/>
                </a:solidFill>
                <a:latin typeface="Segoe UI" panose="020B0502040204020203" pitchFamily="34" charset="0"/>
                <a:ea typeface="Segoe UI" panose="020B0502040204020203" pitchFamily="34" charset="0"/>
                <a:cs typeface="Segoe UI" panose="020B0502040204020203" pitchFamily="34" charset="0"/>
              </a:rPr>
              <a:t>.com</a:t>
            </a:r>
          </a:p>
        </p:txBody>
      </p:sp>
      <p:sp>
        <p:nvSpPr>
          <p:cNvPr id="10" name="Date Placeholder 3"/>
          <p:cNvSpPr txBox="1">
            <a:spLocks/>
          </p:cNvSpPr>
          <p:nvPr userDrawn="1"/>
        </p:nvSpPr>
        <p:spPr>
          <a:xfrm>
            <a:off x="3170548" y="6248944"/>
            <a:ext cx="1269504" cy="216024"/>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900" dirty="0">
                <a:solidFill>
                  <a:schemeClr val="tx1"/>
                </a:solidFill>
                <a:latin typeface="Segoe UI" panose="020B0502040204020203" pitchFamily="34" charset="0"/>
                <a:ea typeface="Segoe UI" panose="020B0502040204020203" pitchFamily="34" charset="0"/>
                <a:cs typeface="Segoe UI" panose="020B0502040204020203" pitchFamily="34" charset="0"/>
              </a:rPr>
              <a:t>www.</a:t>
            </a:r>
            <a:r>
              <a:rPr lang="en-AU" sz="900" b="1" dirty="0">
                <a:solidFill>
                  <a:schemeClr val="tx1"/>
                </a:solidFill>
                <a:latin typeface="Segoe UI" panose="020B0502040204020203" pitchFamily="34" charset="0"/>
                <a:ea typeface="Segoe UI" panose="020B0502040204020203" pitchFamily="34" charset="0"/>
                <a:cs typeface="Segoe UI" panose="020B0502040204020203" pitchFamily="34" charset="0"/>
              </a:rPr>
              <a:t>advisian</a:t>
            </a:r>
            <a:r>
              <a:rPr lang="en-AU" sz="900" dirty="0">
                <a:solidFill>
                  <a:schemeClr val="tx1"/>
                </a:solidFill>
                <a:latin typeface="Segoe UI" panose="020B0502040204020203" pitchFamily="34" charset="0"/>
                <a:ea typeface="Segoe UI" panose="020B0502040204020203" pitchFamily="34" charset="0"/>
                <a:cs typeface="Segoe UI" panose="020B0502040204020203" pitchFamily="34" charset="0"/>
              </a:rPr>
              <a:t>.com</a:t>
            </a:r>
          </a:p>
        </p:txBody>
      </p:sp>
    </p:spTree>
    <p:extLst>
      <p:ext uri="{BB962C8B-B14F-4D97-AF65-F5344CB8AC3E}">
        <p14:creationId xmlns:p14="http://schemas.microsoft.com/office/powerpoint/2010/main" val="1441442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Cover 2 - white">
    <p:bg>
      <p:bgPr>
        <a:solidFill>
          <a:schemeClr val="bg1"/>
        </a:solidFill>
        <a:effectLst/>
      </p:bgPr>
    </p:bg>
    <p:spTree>
      <p:nvGrpSpPr>
        <p:cNvPr id="1" name=""/>
        <p:cNvGrpSpPr/>
        <p:nvPr/>
      </p:nvGrpSpPr>
      <p:grpSpPr>
        <a:xfrm>
          <a:off x="0" y="0"/>
          <a:ext cx="0" cy="0"/>
          <a:chOff x="0" y="0"/>
          <a:chExt cx="0" cy="0"/>
        </a:xfrm>
      </p:grpSpPr>
      <p:sp>
        <p:nvSpPr>
          <p:cNvPr id="28" name="Text Placeholder 26"/>
          <p:cNvSpPr>
            <a:spLocks noGrp="1"/>
          </p:cNvSpPr>
          <p:nvPr>
            <p:ph type="body" sz="quarter" idx="11"/>
          </p:nvPr>
        </p:nvSpPr>
        <p:spPr>
          <a:xfrm>
            <a:off x="4475473" y="4240468"/>
            <a:ext cx="4354126" cy="677333"/>
          </a:xfrm>
          <a:prstGeom prst="rect">
            <a:avLst/>
          </a:prstGeom>
        </p:spPr>
        <p:txBody>
          <a:bodyPr lIns="0" tIns="0" rIns="0" bIns="0">
            <a:noAutofit/>
          </a:bodyPr>
          <a:lstStyle>
            <a:lvl1pPr>
              <a:spcBef>
                <a:spcPts val="0"/>
              </a:spcBef>
              <a:spcAft>
                <a:spcPts val="0"/>
              </a:spcAft>
              <a:defRPr sz="1000">
                <a:solidFill>
                  <a:schemeClr val="tx1"/>
                </a:solidFill>
              </a:defRPr>
            </a:lvl1pPr>
          </a:lstStyle>
          <a:p>
            <a:pPr lvl="0"/>
            <a:r>
              <a:rPr lang="en-US" dirty="0"/>
              <a:t>Click to edit Master text styles</a:t>
            </a:r>
          </a:p>
        </p:txBody>
      </p:sp>
      <p:sp>
        <p:nvSpPr>
          <p:cNvPr id="29" name="Title 28"/>
          <p:cNvSpPr>
            <a:spLocks noGrp="1"/>
          </p:cNvSpPr>
          <p:nvPr>
            <p:ph type="title"/>
          </p:nvPr>
        </p:nvSpPr>
        <p:spPr>
          <a:xfrm>
            <a:off x="4475473" y="1610919"/>
            <a:ext cx="4343012" cy="1711401"/>
          </a:xfrm>
        </p:spPr>
        <p:txBody>
          <a:bodyPr>
            <a:noAutofit/>
          </a:bodyPr>
          <a:lstStyle>
            <a:lvl1pPr>
              <a:lnSpc>
                <a:spcPts val="2800"/>
              </a:lnSpc>
              <a:defRPr sz="2800">
                <a:solidFill>
                  <a:schemeClr val="tx1"/>
                </a:solidFill>
              </a:defRPr>
            </a:lvl1pPr>
          </a:lstStyle>
          <a:p>
            <a:r>
              <a:rPr lang="en-US" dirty="0"/>
              <a:t>Click to edit Master title style</a:t>
            </a:r>
          </a:p>
        </p:txBody>
      </p:sp>
      <p:sp>
        <p:nvSpPr>
          <p:cNvPr id="33" name="Text Placeholder 32"/>
          <p:cNvSpPr>
            <a:spLocks noGrp="1"/>
          </p:cNvSpPr>
          <p:nvPr>
            <p:ph type="body" sz="quarter" idx="12"/>
          </p:nvPr>
        </p:nvSpPr>
        <p:spPr>
          <a:xfrm>
            <a:off x="4475473" y="3546203"/>
            <a:ext cx="4327774" cy="601133"/>
          </a:xfrm>
          <a:prstGeom prst="rect">
            <a:avLst/>
          </a:prstGeom>
        </p:spPr>
        <p:txBody>
          <a:bodyPr lIns="0" tIns="0" rIns="0" bIns="0">
            <a:noAutofit/>
          </a:bodyPr>
          <a:lstStyle>
            <a:lvl1pPr>
              <a:defRPr>
                <a:solidFill>
                  <a:schemeClr val="tx1"/>
                </a:solidFill>
              </a:defRPr>
            </a:lvl1pPr>
          </a:lstStyle>
          <a:p>
            <a:pPr lvl="0"/>
            <a:r>
              <a:rPr lang="en-US" dirty="0"/>
              <a:t>Click to edit Master text styles</a:t>
            </a:r>
          </a:p>
        </p:txBody>
      </p:sp>
      <p:sp>
        <p:nvSpPr>
          <p:cNvPr id="10" name="Date Placeholder 3"/>
          <p:cNvSpPr txBox="1">
            <a:spLocks/>
          </p:cNvSpPr>
          <p:nvPr userDrawn="1"/>
        </p:nvSpPr>
        <p:spPr>
          <a:xfrm>
            <a:off x="4475473" y="6248944"/>
            <a:ext cx="1269504" cy="216024"/>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900" dirty="0">
                <a:solidFill>
                  <a:schemeClr val="tx1"/>
                </a:solidFill>
                <a:latin typeface="Segoe UI" panose="020B0502040204020203" pitchFamily="34" charset="0"/>
                <a:ea typeface="Segoe UI" panose="020B0502040204020203" pitchFamily="34" charset="0"/>
                <a:cs typeface="Segoe UI" panose="020B0502040204020203" pitchFamily="34" charset="0"/>
              </a:rPr>
              <a:t>www.</a:t>
            </a:r>
            <a:r>
              <a:rPr lang="en-AU" sz="900" b="1" dirty="0">
                <a:solidFill>
                  <a:schemeClr val="tx1"/>
                </a:solidFill>
                <a:latin typeface="Segoe UI" panose="020B0502040204020203" pitchFamily="34" charset="0"/>
                <a:ea typeface="Segoe UI" panose="020B0502040204020203" pitchFamily="34" charset="0"/>
                <a:cs typeface="Segoe UI" panose="020B0502040204020203" pitchFamily="34" charset="0"/>
              </a:rPr>
              <a:t>advisian</a:t>
            </a:r>
            <a:r>
              <a:rPr lang="en-AU" sz="900" dirty="0">
                <a:solidFill>
                  <a:schemeClr val="tx1"/>
                </a:solidFill>
                <a:latin typeface="Segoe UI" panose="020B0502040204020203" pitchFamily="34" charset="0"/>
                <a:ea typeface="Segoe UI" panose="020B0502040204020203" pitchFamily="34" charset="0"/>
                <a:cs typeface="Segoe UI" panose="020B0502040204020203" pitchFamily="34" charset="0"/>
              </a:rPr>
              <a:t>.com</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75473" y="5346848"/>
            <a:ext cx="1227613" cy="423269"/>
          </a:xfrm>
          <a:prstGeom prst="rect">
            <a:avLst/>
          </a:prstGeom>
          <a:noFill/>
          <a:ln>
            <a:noFill/>
          </a:ln>
        </p:spPr>
      </p:pic>
      <p:sp>
        <p:nvSpPr>
          <p:cNvPr id="5" name="Picture Placeholder 4"/>
          <p:cNvSpPr>
            <a:spLocks noGrp="1"/>
          </p:cNvSpPr>
          <p:nvPr>
            <p:ph type="pic" sz="quarter" idx="17"/>
          </p:nvPr>
        </p:nvSpPr>
        <p:spPr>
          <a:xfrm>
            <a:off x="-66674" y="-76200"/>
            <a:ext cx="5271134" cy="7002780"/>
          </a:xfrm>
          <a:custGeom>
            <a:avLst/>
            <a:gdLst>
              <a:gd name="connsiteX0" fmla="*/ 0 w 5271134"/>
              <a:gd name="connsiteY0" fmla="*/ 0 h 7000876"/>
              <a:gd name="connsiteX1" fmla="*/ 5271134 w 5271134"/>
              <a:gd name="connsiteY1" fmla="*/ 0 h 7000876"/>
              <a:gd name="connsiteX2" fmla="*/ 5271134 w 5271134"/>
              <a:gd name="connsiteY2" fmla="*/ 7000876 h 7000876"/>
              <a:gd name="connsiteX3" fmla="*/ 0 w 5271134"/>
              <a:gd name="connsiteY3" fmla="*/ 7000876 h 7000876"/>
              <a:gd name="connsiteX4" fmla="*/ 0 w 5271134"/>
              <a:gd name="connsiteY4" fmla="*/ 0 h 7000876"/>
              <a:gd name="connsiteX0" fmla="*/ 0 w 5271134"/>
              <a:gd name="connsiteY0" fmla="*/ 0 h 7002780"/>
              <a:gd name="connsiteX1" fmla="*/ 5271134 w 5271134"/>
              <a:gd name="connsiteY1" fmla="*/ 0 h 7002780"/>
              <a:gd name="connsiteX2" fmla="*/ 5271134 w 5271134"/>
              <a:gd name="connsiteY2" fmla="*/ 7000876 h 7002780"/>
              <a:gd name="connsiteX3" fmla="*/ 2619374 w 5271134"/>
              <a:gd name="connsiteY3" fmla="*/ 7002780 h 7002780"/>
              <a:gd name="connsiteX4" fmla="*/ 0 w 5271134"/>
              <a:gd name="connsiteY4" fmla="*/ 7000876 h 7002780"/>
              <a:gd name="connsiteX5" fmla="*/ 0 w 5271134"/>
              <a:gd name="connsiteY5" fmla="*/ 0 h 7002780"/>
              <a:gd name="connsiteX0" fmla="*/ 0 w 5271134"/>
              <a:gd name="connsiteY0" fmla="*/ 0 h 7002780"/>
              <a:gd name="connsiteX1" fmla="*/ 5271134 w 5271134"/>
              <a:gd name="connsiteY1" fmla="*/ 0 h 7002780"/>
              <a:gd name="connsiteX2" fmla="*/ 2619374 w 5271134"/>
              <a:gd name="connsiteY2" fmla="*/ 7002780 h 7002780"/>
              <a:gd name="connsiteX3" fmla="*/ 0 w 5271134"/>
              <a:gd name="connsiteY3" fmla="*/ 7000876 h 7002780"/>
              <a:gd name="connsiteX4" fmla="*/ 0 w 5271134"/>
              <a:gd name="connsiteY4" fmla="*/ 0 h 7002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1134" h="7002780">
                <a:moveTo>
                  <a:pt x="0" y="0"/>
                </a:moveTo>
                <a:lnTo>
                  <a:pt x="5271134" y="0"/>
                </a:lnTo>
                <a:lnTo>
                  <a:pt x="2619374" y="7002780"/>
                </a:lnTo>
                <a:lnTo>
                  <a:pt x="0" y="7000876"/>
                </a:lnTo>
                <a:lnTo>
                  <a:pt x="0" y="0"/>
                </a:lnTo>
                <a:close/>
              </a:path>
            </a:pathLst>
          </a:custGeom>
          <a:solidFill>
            <a:schemeClr val="bg1">
              <a:lumMod val="65000"/>
            </a:schemeClr>
          </a:solidFill>
        </p:spPr>
        <p:txBody>
          <a:bodyPr lIns="576000" tIns="3348000"/>
          <a:lstStyle>
            <a:lvl1pPr>
              <a:defRPr sz="1200" b="1">
                <a:solidFill>
                  <a:schemeClr val="bg1"/>
                </a:solidFill>
              </a:defRPr>
            </a:lvl1pPr>
          </a:lstStyle>
          <a:p>
            <a:endParaRPr lang="en-US"/>
          </a:p>
        </p:txBody>
      </p:sp>
      <p:sp>
        <p:nvSpPr>
          <p:cNvPr id="7" name="Picture Placeholder 6"/>
          <p:cNvSpPr>
            <a:spLocks noGrp="1"/>
          </p:cNvSpPr>
          <p:nvPr>
            <p:ph type="pic" sz="quarter" idx="18" hasCustomPrompt="1"/>
          </p:nvPr>
        </p:nvSpPr>
        <p:spPr>
          <a:xfrm>
            <a:off x="7448550" y="5300217"/>
            <a:ext cx="1397000" cy="469900"/>
          </a:xfrm>
        </p:spPr>
        <p:txBody>
          <a:bodyPr/>
          <a:lstStyle>
            <a:lvl1pPr algn="ctr">
              <a:defRPr sz="800" b="1"/>
            </a:lvl1pPr>
          </a:lstStyle>
          <a:p>
            <a:r>
              <a:rPr lang="en-AU" dirty="0"/>
              <a:t>Client logo</a:t>
            </a:r>
            <a:endParaRPr lang="en-US" dirty="0"/>
          </a:p>
        </p:txBody>
      </p:sp>
    </p:spTree>
    <p:extLst>
      <p:ext uri="{BB962C8B-B14F-4D97-AF65-F5344CB8AC3E}">
        <p14:creationId xmlns:p14="http://schemas.microsoft.com/office/powerpoint/2010/main" val="1173117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Cover 5 - white">
    <p:spTree>
      <p:nvGrpSpPr>
        <p:cNvPr id="1" name=""/>
        <p:cNvGrpSpPr/>
        <p:nvPr/>
      </p:nvGrpSpPr>
      <p:grpSpPr>
        <a:xfrm>
          <a:off x="0" y="0"/>
          <a:ext cx="0" cy="0"/>
          <a:chOff x="0" y="0"/>
          <a:chExt cx="0" cy="0"/>
        </a:xfrm>
      </p:grpSpPr>
      <p:sp>
        <p:nvSpPr>
          <p:cNvPr id="28" name="Text Placeholder 26"/>
          <p:cNvSpPr>
            <a:spLocks noGrp="1"/>
          </p:cNvSpPr>
          <p:nvPr>
            <p:ph type="body" sz="quarter" idx="11"/>
          </p:nvPr>
        </p:nvSpPr>
        <p:spPr>
          <a:xfrm>
            <a:off x="600077" y="4241800"/>
            <a:ext cx="7964486" cy="313267"/>
          </a:xfrm>
          <a:prstGeom prst="rect">
            <a:avLst/>
          </a:prstGeom>
        </p:spPr>
        <p:txBody>
          <a:bodyPr lIns="0" tIns="0" rIns="0" bIns="0">
            <a:noAutofit/>
          </a:bodyPr>
          <a:lstStyle>
            <a:lvl1pPr>
              <a:spcBef>
                <a:spcPts val="0"/>
              </a:spcBef>
              <a:spcAft>
                <a:spcPts val="0"/>
              </a:spcAft>
              <a:defRPr sz="1000">
                <a:solidFill>
                  <a:schemeClr val="tx1"/>
                </a:solidFill>
              </a:defRPr>
            </a:lvl1pPr>
          </a:lstStyle>
          <a:p>
            <a:pPr lvl="0"/>
            <a:r>
              <a:rPr lang="en-US" dirty="0"/>
              <a:t>Click to edit Master text styles</a:t>
            </a:r>
          </a:p>
        </p:txBody>
      </p:sp>
      <p:sp>
        <p:nvSpPr>
          <p:cNvPr id="29" name="Title 28"/>
          <p:cNvSpPr>
            <a:spLocks noGrp="1"/>
          </p:cNvSpPr>
          <p:nvPr>
            <p:ph type="title"/>
          </p:nvPr>
        </p:nvSpPr>
        <p:spPr>
          <a:xfrm>
            <a:off x="600077" y="1845735"/>
            <a:ext cx="7964486" cy="1439333"/>
          </a:xfrm>
        </p:spPr>
        <p:txBody>
          <a:bodyPr>
            <a:noAutofit/>
          </a:bodyPr>
          <a:lstStyle>
            <a:lvl1pPr>
              <a:lnSpc>
                <a:spcPts val="3600"/>
              </a:lnSpc>
              <a:defRPr sz="3600">
                <a:solidFill>
                  <a:schemeClr val="tx1"/>
                </a:solidFill>
              </a:defRPr>
            </a:lvl1pPr>
          </a:lstStyle>
          <a:p>
            <a:r>
              <a:rPr lang="en-US" dirty="0"/>
              <a:t>Click to edit Master title style</a:t>
            </a:r>
          </a:p>
        </p:txBody>
      </p:sp>
      <p:sp>
        <p:nvSpPr>
          <p:cNvPr id="33" name="Text Placeholder 32"/>
          <p:cNvSpPr>
            <a:spLocks noGrp="1"/>
          </p:cNvSpPr>
          <p:nvPr>
            <p:ph type="body" sz="quarter" idx="12"/>
          </p:nvPr>
        </p:nvSpPr>
        <p:spPr>
          <a:xfrm>
            <a:off x="600077" y="3471335"/>
            <a:ext cx="7964486" cy="601133"/>
          </a:xfrm>
          <a:prstGeom prst="rect">
            <a:avLst/>
          </a:prstGeom>
        </p:spPr>
        <p:txBody>
          <a:bodyPr lIns="0" tIns="0" rIns="0" bIns="0">
            <a:noAutofit/>
          </a:bodyPr>
          <a:lstStyle>
            <a:lvl1pPr>
              <a:lnSpc>
                <a:spcPts val="1700"/>
              </a:lnSpc>
              <a:spcBef>
                <a:spcPts val="0"/>
              </a:spcBef>
              <a:spcAft>
                <a:spcPts val="0"/>
              </a:spcAft>
              <a:defRPr>
                <a:solidFill>
                  <a:schemeClr val="tx1"/>
                </a:solidFill>
              </a:defRPr>
            </a:lvl1pPr>
          </a:lstStyle>
          <a:p>
            <a:pPr lvl="0"/>
            <a:r>
              <a:rPr lang="en-US" dirty="0"/>
              <a:t>Click to edit Master text styles</a:t>
            </a:r>
          </a:p>
        </p:txBody>
      </p:sp>
      <p:sp>
        <p:nvSpPr>
          <p:cNvPr id="8" name="Parallelogram 7"/>
          <p:cNvSpPr/>
          <p:nvPr userDrawn="1"/>
        </p:nvSpPr>
        <p:spPr>
          <a:xfrm>
            <a:off x="593726" y="1364891"/>
            <a:ext cx="720000" cy="60959"/>
          </a:xfrm>
          <a:prstGeom prst="parallelogram">
            <a:avLst>
              <a:gd name="adj" fmla="val 37993"/>
            </a:avLst>
          </a:pr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Picture Placeholder 3"/>
          <p:cNvSpPr>
            <a:spLocks noGrp="1"/>
          </p:cNvSpPr>
          <p:nvPr>
            <p:ph type="pic" sz="quarter" idx="16" hasCustomPrompt="1"/>
          </p:nvPr>
        </p:nvSpPr>
        <p:spPr>
          <a:xfrm>
            <a:off x="7170515" y="5289208"/>
            <a:ext cx="1413098" cy="459281"/>
          </a:xfrm>
        </p:spPr>
        <p:txBody>
          <a:bodyPr/>
          <a:lstStyle>
            <a:lvl1pPr algn="ctr">
              <a:defRPr sz="800" b="1"/>
            </a:lvl1pPr>
          </a:lstStyle>
          <a:p>
            <a:r>
              <a:rPr lang="en-AU" dirty="0"/>
              <a:t>Client logo</a:t>
            </a:r>
            <a:endParaRPr lang="en-US" dirty="0"/>
          </a:p>
        </p:txBody>
      </p:sp>
      <p:sp>
        <p:nvSpPr>
          <p:cNvPr id="15" name="Date Placeholder 3"/>
          <p:cNvSpPr txBox="1">
            <a:spLocks/>
          </p:cNvSpPr>
          <p:nvPr userDrawn="1"/>
        </p:nvSpPr>
        <p:spPr>
          <a:xfrm>
            <a:off x="607174" y="6248944"/>
            <a:ext cx="1269504" cy="216024"/>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900" dirty="0">
                <a:solidFill>
                  <a:schemeClr val="tx1"/>
                </a:solidFill>
                <a:latin typeface="Segoe UI" panose="020B0502040204020203" pitchFamily="34" charset="0"/>
                <a:ea typeface="Segoe UI" panose="020B0502040204020203" pitchFamily="34" charset="0"/>
                <a:cs typeface="Segoe UI" panose="020B0502040204020203" pitchFamily="34" charset="0"/>
              </a:rPr>
              <a:t>www.</a:t>
            </a:r>
            <a:r>
              <a:rPr lang="en-AU" sz="900" b="1" dirty="0">
                <a:solidFill>
                  <a:schemeClr val="tx1"/>
                </a:solidFill>
                <a:latin typeface="Segoe UI" panose="020B0502040204020203" pitchFamily="34" charset="0"/>
                <a:ea typeface="Segoe UI" panose="020B0502040204020203" pitchFamily="34" charset="0"/>
                <a:cs typeface="Segoe UI" panose="020B0502040204020203" pitchFamily="34" charset="0"/>
              </a:rPr>
              <a:t>advisian</a:t>
            </a:r>
            <a:r>
              <a:rPr lang="en-AU" sz="900" dirty="0">
                <a:solidFill>
                  <a:schemeClr val="tx1"/>
                </a:solidFill>
                <a:latin typeface="Segoe UI" panose="020B0502040204020203" pitchFamily="34" charset="0"/>
                <a:ea typeface="Segoe UI" panose="020B0502040204020203" pitchFamily="34" charset="0"/>
                <a:cs typeface="Segoe UI" panose="020B0502040204020203" pitchFamily="34" charset="0"/>
              </a:rPr>
              <a:t>.com</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5526" y="5282894"/>
            <a:ext cx="1227613" cy="423269"/>
          </a:xfrm>
          <a:prstGeom prst="rect">
            <a:avLst/>
          </a:prstGeom>
          <a:noFill/>
          <a:ln>
            <a:noFill/>
          </a:ln>
        </p:spPr>
      </p:pic>
    </p:spTree>
    <p:extLst>
      <p:ext uri="{BB962C8B-B14F-4D97-AF65-F5344CB8AC3E}">
        <p14:creationId xmlns:p14="http://schemas.microsoft.com/office/powerpoint/2010/main" val="2449700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1 Body with image white">
    <p:bg>
      <p:bgPr>
        <a:solidFill>
          <a:schemeClr val="bg1"/>
        </a:solidFill>
        <a:effectLst/>
      </p:bgPr>
    </p:bg>
    <p:spTree>
      <p:nvGrpSpPr>
        <p:cNvPr id="1" name=""/>
        <p:cNvGrpSpPr/>
        <p:nvPr/>
      </p:nvGrpSpPr>
      <p:grpSpPr>
        <a:xfrm>
          <a:off x="0" y="0"/>
          <a:ext cx="0" cy="0"/>
          <a:chOff x="0" y="0"/>
          <a:chExt cx="0" cy="0"/>
        </a:xfrm>
      </p:grpSpPr>
      <p:sp>
        <p:nvSpPr>
          <p:cNvPr id="5" name="Parallelogram 4"/>
          <p:cNvSpPr/>
          <p:nvPr userDrawn="1"/>
        </p:nvSpPr>
        <p:spPr>
          <a:xfrm>
            <a:off x="593726" y="1364891"/>
            <a:ext cx="720000" cy="60959"/>
          </a:xfrm>
          <a:prstGeom prst="parallelogram">
            <a:avLst>
              <a:gd name="adj" fmla="val 3799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Picture Placeholder 3"/>
          <p:cNvSpPr>
            <a:spLocks noGrp="1"/>
          </p:cNvSpPr>
          <p:nvPr>
            <p:ph type="pic" sz="quarter" idx="10"/>
          </p:nvPr>
        </p:nvSpPr>
        <p:spPr>
          <a:xfrm>
            <a:off x="3770313" y="-84138"/>
            <a:ext cx="5449887" cy="7018021"/>
          </a:xfrm>
          <a:custGeom>
            <a:avLst/>
            <a:gdLst>
              <a:gd name="connsiteX0" fmla="*/ 0 w 5449887"/>
              <a:gd name="connsiteY0" fmla="*/ 0 h 7010401"/>
              <a:gd name="connsiteX1" fmla="*/ 5449887 w 5449887"/>
              <a:gd name="connsiteY1" fmla="*/ 0 h 7010401"/>
              <a:gd name="connsiteX2" fmla="*/ 5449887 w 5449887"/>
              <a:gd name="connsiteY2" fmla="*/ 7010401 h 7010401"/>
              <a:gd name="connsiteX3" fmla="*/ 0 w 5449887"/>
              <a:gd name="connsiteY3" fmla="*/ 7010401 h 7010401"/>
              <a:gd name="connsiteX4" fmla="*/ 0 w 5449887"/>
              <a:gd name="connsiteY4" fmla="*/ 0 h 7010401"/>
              <a:gd name="connsiteX0" fmla="*/ 0 w 5449887"/>
              <a:gd name="connsiteY0" fmla="*/ 0 h 7018021"/>
              <a:gd name="connsiteX1" fmla="*/ 5449887 w 5449887"/>
              <a:gd name="connsiteY1" fmla="*/ 0 h 7018021"/>
              <a:gd name="connsiteX2" fmla="*/ 5449887 w 5449887"/>
              <a:gd name="connsiteY2" fmla="*/ 7010401 h 7018021"/>
              <a:gd name="connsiteX3" fmla="*/ 2659380 w 5449887"/>
              <a:gd name="connsiteY3" fmla="*/ 7018021 h 7018021"/>
              <a:gd name="connsiteX4" fmla="*/ 0 w 5449887"/>
              <a:gd name="connsiteY4" fmla="*/ 0 h 7018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9887" h="7018021">
                <a:moveTo>
                  <a:pt x="0" y="0"/>
                </a:moveTo>
                <a:lnTo>
                  <a:pt x="5449887" y="0"/>
                </a:lnTo>
                <a:lnTo>
                  <a:pt x="5449887" y="7010401"/>
                </a:lnTo>
                <a:lnTo>
                  <a:pt x="2659380" y="7018021"/>
                </a:lnTo>
                <a:lnTo>
                  <a:pt x="0" y="0"/>
                </a:lnTo>
                <a:close/>
              </a:path>
            </a:pathLst>
          </a:custGeom>
          <a:solidFill>
            <a:schemeClr val="bg1">
              <a:lumMod val="65000"/>
            </a:schemeClr>
          </a:solidFill>
        </p:spPr>
        <p:txBody>
          <a:bodyPr lIns="2556000" tIns="3780000"/>
          <a:lstStyle>
            <a:lvl1pPr>
              <a:defRPr sz="1400" b="1">
                <a:solidFill>
                  <a:schemeClr val="bg1"/>
                </a:solidFill>
              </a:defRPr>
            </a:lvl1pPr>
          </a:lstStyle>
          <a:p>
            <a:endParaRPr lang="en-US"/>
          </a:p>
        </p:txBody>
      </p:sp>
      <p:sp>
        <p:nvSpPr>
          <p:cNvPr id="3" name="Text Placeholder 2"/>
          <p:cNvSpPr>
            <a:spLocks noGrp="1"/>
          </p:cNvSpPr>
          <p:nvPr>
            <p:ph type="body" sz="quarter" idx="11"/>
          </p:nvPr>
        </p:nvSpPr>
        <p:spPr>
          <a:xfrm>
            <a:off x="593726" y="1828800"/>
            <a:ext cx="3250249" cy="456035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600077" y="398977"/>
            <a:ext cx="3249722" cy="800867"/>
          </a:xfrm>
        </p:spPr>
        <p:txBody>
          <a:bodyPr/>
          <a:lstStyle/>
          <a:p>
            <a:r>
              <a:rPr lang="en-US"/>
              <a:t>Click to edit Master title style</a:t>
            </a:r>
          </a:p>
        </p:txBody>
      </p:sp>
    </p:spTree>
    <p:extLst>
      <p:ext uri="{BB962C8B-B14F-4D97-AF65-F5344CB8AC3E}">
        <p14:creationId xmlns:p14="http://schemas.microsoft.com/office/powerpoint/2010/main" val="2815789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2 body with image white">
    <p:bg>
      <p:bgPr>
        <a:solidFill>
          <a:schemeClr val="bg1"/>
        </a:solidFill>
        <a:effectLst/>
      </p:bgPr>
    </p:bg>
    <p:spTree>
      <p:nvGrpSpPr>
        <p:cNvPr id="1" name=""/>
        <p:cNvGrpSpPr/>
        <p:nvPr/>
      </p:nvGrpSpPr>
      <p:grpSpPr>
        <a:xfrm>
          <a:off x="0" y="0"/>
          <a:ext cx="0" cy="0"/>
          <a:chOff x="0" y="0"/>
          <a:chExt cx="0" cy="0"/>
        </a:xfrm>
      </p:grpSpPr>
      <p:sp>
        <p:nvSpPr>
          <p:cNvPr id="5" name="Parallelogram 4"/>
          <p:cNvSpPr/>
          <p:nvPr userDrawn="1"/>
        </p:nvSpPr>
        <p:spPr>
          <a:xfrm>
            <a:off x="593726" y="1364891"/>
            <a:ext cx="720000" cy="60959"/>
          </a:xfrm>
          <a:prstGeom prst="parallelogram">
            <a:avLst>
              <a:gd name="adj" fmla="val 3799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Text Placeholder 2"/>
          <p:cNvSpPr>
            <a:spLocks noGrp="1"/>
          </p:cNvSpPr>
          <p:nvPr>
            <p:ph type="body" sz="quarter" idx="11"/>
          </p:nvPr>
        </p:nvSpPr>
        <p:spPr>
          <a:xfrm>
            <a:off x="593726" y="1828800"/>
            <a:ext cx="3495674" cy="456035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600077" y="398977"/>
            <a:ext cx="4505323" cy="800867"/>
          </a:xfrm>
        </p:spPr>
        <p:txBody>
          <a:bodyPr/>
          <a:lstStyle/>
          <a:p>
            <a:r>
              <a:rPr lang="en-US"/>
              <a:t>Click to edit Master title style</a:t>
            </a:r>
          </a:p>
        </p:txBody>
      </p:sp>
      <p:sp>
        <p:nvSpPr>
          <p:cNvPr id="10" name="Picture Placeholder 9"/>
          <p:cNvSpPr>
            <a:spLocks noGrp="1"/>
          </p:cNvSpPr>
          <p:nvPr>
            <p:ph type="pic" sz="quarter" idx="12"/>
          </p:nvPr>
        </p:nvSpPr>
        <p:spPr>
          <a:xfrm>
            <a:off x="3654924" y="-50800"/>
            <a:ext cx="5489076" cy="6946412"/>
          </a:xfrm>
          <a:custGeom>
            <a:avLst/>
            <a:gdLst>
              <a:gd name="connsiteX0" fmla="*/ 0 w 5489076"/>
              <a:gd name="connsiteY0" fmla="*/ 0 h 6940062"/>
              <a:gd name="connsiteX1" fmla="*/ 5489076 w 5489076"/>
              <a:gd name="connsiteY1" fmla="*/ 0 h 6940062"/>
              <a:gd name="connsiteX2" fmla="*/ 5489076 w 5489076"/>
              <a:gd name="connsiteY2" fmla="*/ 6940062 h 6940062"/>
              <a:gd name="connsiteX3" fmla="*/ 0 w 5489076"/>
              <a:gd name="connsiteY3" fmla="*/ 6940062 h 6940062"/>
              <a:gd name="connsiteX4" fmla="*/ 0 w 5489076"/>
              <a:gd name="connsiteY4" fmla="*/ 0 h 6940062"/>
              <a:gd name="connsiteX0" fmla="*/ 0 w 5489076"/>
              <a:gd name="connsiteY0" fmla="*/ 6350 h 6946412"/>
              <a:gd name="connsiteX1" fmla="*/ 2606176 w 5489076"/>
              <a:gd name="connsiteY1" fmla="*/ 0 h 6946412"/>
              <a:gd name="connsiteX2" fmla="*/ 5489076 w 5489076"/>
              <a:gd name="connsiteY2" fmla="*/ 6350 h 6946412"/>
              <a:gd name="connsiteX3" fmla="*/ 5489076 w 5489076"/>
              <a:gd name="connsiteY3" fmla="*/ 6946412 h 6946412"/>
              <a:gd name="connsiteX4" fmla="*/ 0 w 5489076"/>
              <a:gd name="connsiteY4" fmla="*/ 6946412 h 6946412"/>
              <a:gd name="connsiteX5" fmla="*/ 0 w 5489076"/>
              <a:gd name="connsiteY5" fmla="*/ 6350 h 6946412"/>
              <a:gd name="connsiteX0" fmla="*/ 0 w 5489076"/>
              <a:gd name="connsiteY0" fmla="*/ 6350 h 6946412"/>
              <a:gd name="connsiteX1" fmla="*/ 2625226 w 5489076"/>
              <a:gd name="connsiteY1" fmla="*/ 0 h 6946412"/>
              <a:gd name="connsiteX2" fmla="*/ 5489076 w 5489076"/>
              <a:gd name="connsiteY2" fmla="*/ 6350 h 6946412"/>
              <a:gd name="connsiteX3" fmla="*/ 5489076 w 5489076"/>
              <a:gd name="connsiteY3" fmla="*/ 6946412 h 6946412"/>
              <a:gd name="connsiteX4" fmla="*/ 0 w 5489076"/>
              <a:gd name="connsiteY4" fmla="*/ 6946412 h 6946412"/>
              <a:gd name="connsiteX5" fmla="*/ 0 w 5489076"/>
              <a:gd name="connsiteY5" fmla="*/ 6350 h 6946412"/>
              <a:gd name="connsiteX0" fmla="*/ 0 w 5489076"/>
              <a:gd name="connsiteY0" fmla="*/ 6350 h 6946412"/>
              <a:gd name="connsiteX1" fmla="*/ 2644276 w 5489076"/>
              <a:gd name="connsiteY1" fmla="*/ 0 h 6946412"/>
              <a:gd name="connsiteX2" fmla="*/ 5489076 w 5489076"/>
              <a:gd name="connsiteY2" fmla="*/ 6350 h 6946412"/>
              <a:gd name="connsiteX3" fmla="*/ 5489076 w 5489076"/>
              <a:gd name="connsiteY3" fmla="*/ 6946412 h 6946412"/>
              <a:gd name="connsiteX4" fmla="*/ 0 w 5489076"/>
              <a:gd name="connsiteY4" fmla="*/ 6946412 h 6946412"/>
              <a:gd name="connsiteX5" fmla="*/ 0 w 5489076"/>
              <a:gd name="connsiteY5" fmla="*/ 6350 h 6946412"/>
              <a:gd name="connsiteX0" fmla="*/ 0 w 5489076"/>
              <a:gd name="connsiteY0" fmla="*/ 6946412 h 6946412"/>
              <a:gd name="connsiteX1" fmla="*/ 2644276 w 5489076"/>
              <a:gd name="connsiteY1" fmla="*/ 0 h 6946412"/>
              <a:gd name="connsiteX2" fmla="*/ 5489076 w 5489076"/>
              <a:gd name="connsiteY2" fmla="*/ 6350 h 6946412"/>
              <a:gd name="connsiteX3" fmla="*/ 5489076 w 5489076"/>
              <a:gd name="connsiteY3" fmla="*/ 6946412 h 6946412"/>
              <a:gd name="connsiteX4" fmla="*/ 0 w 5489076"/>
              <a:gd name="connsiteY4" fmla="*/ 6946412 h 6946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9076" h="6946412">
                <a:moveTo>
                  <a:pt x="0" y="6946412"/>
                </a:moveTo>
                <a:lnTo>
                  <a:pt x="2644276" y="0"/>
                </a:lnTo>
                <a:lnTo>
                  <a:pt x="5489076" y="6350"/>
                </a:lnTo>
                <a:lnTo>
                  <a:pt x="5489076" y="6946412"/>
                </a:lnTo>
                <a:lnTo>
                  <a:pt x="0" y="6946412"/>
                </a:lnTo>
                <a:close/>
              </a:path>
            </a:pathLst>
          </a:custGeom>
          <a:solidFill>
            <a:schemeClr val="bg1">
              <a:lumMod val="65000"/>
            </a:schemeClr>
          </a:solidFill>
        </p:spPr>
        <p:txBody>
          <a:bodyPr tIns="3060000"/>
          <a:lstStyle>
            <a:lvl1pPr algn="ctr">
              <a:defRPr sz="1200" b="1">
                <a:solidFill>
                  <a:schemeClr val="bg1"/>
                </a:solidFill>
              </a:defRPr>
            </a:lvl1pPr>
          </a:lstStyle>
          <a:p>
            <a:endParaRPr lang="en-US" dirty="0"/>
          </a:p>
        </p:txBody>
      </p:sp>
    </p:spTree>
    <p:extLst>
      <p:ext uri="{BB962C8B-B14F-4D97-AF65-F5344CB8AC3E}">
        <p14:creationId xmlns:p14="http://schemas.microsoft.com/office/powerpoint/2010/main" val="428148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Cover with image white">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7"/>
          </p:nvPr>
        </p:nvSpPr>
        <p:spPr>
          <a:xfrm>
            <a:off x="-99060" y="-82550"/>
            <a:ext cx="4039870" cy="7056608"/>
          </a:xfrm>
          <a:custGeom>
            <a:avLst/>
            <a:gdLst>
              <a:gd name="connsiteX0" fmla="*/ 0 w 5271134"/>
              <a:gd name="connsiteY0" fmla="*/ 0 h 7000876"/>
              <a:gd name="connsiteX1" fmla="*/ 5271134 w 5271134"/>
              <a:gd name="connsiteY1" fmla="*/ 0 h 7000876"/>
              <a:gd name="connsiteX2" fmla="*/ 5271134 w 5271134"/>
              <a:gd name="connsiteY2" fmla="*/ 7000876 h 7000876"/>
              <a:gd name="connsiteX3" fmla="*/ 0 w 5271134"/>
              <a:gd name="connsiteY3" fmla="*/ 7000876 h 7000876"/>
              <a:gd name="connsiteX4" fmla="*/ 0 w 5271134"/>
              <a:gd name="connsiteY4" fmla="*/ 0 h 7000876"/>
              <a:gd name="connsiteX0" fmla="*/ 0 w 5271134"/>
              <a:gd name="connsiteY0" fmla="*/ 0 h 7002780"/>
              <a:gd name="connsiteX1" fmla="*/ 5271134 w 5271134"/>
              <a:gd name="connsiteY1" fmla="*/ 0 h 7002780"/>
              <a:gd name="connsiteX2" fmla="*/ 5271134 w 5271134"/>
              <a:gd name="connsiteY2" fmla="*/ 7000876 h 7002780"/>
              <a:gd name="connsiteX3" fmla="*/ 2619374 w 5271134"/>
              <a:gd name="connsiteY3" fmla="*/ 7002780 h 7002780"/>
              <a:gd name="connsiteX4" fmla="*/ 0 w 5271134"/>
              <a:gd name="connsiteY4" fmla="*/ 7000876 h 7002780"/>
              <a:gd name="connsiteX5" fmla="*/ 0 w 5271134"/>
              <a:gd name="connsiteY5" fmla="*/ 0 h 7002780"/>
              <a:gd name="connsiteX0" fmla="*/ 0 w 5271134"/>
              <a:gd name="connsiteY0" fmla="*/ 0 h 7002780"/>
              <a:gd name="connsiteX1" fmla="*/ 5271134 w 5271134"/>
              <a:gd name="connsiteY1" fmla="*/ 0 h 7002780"/>
              <a:gd name="connsiteX2" fmla="*/ 2619374 w 5271134"/>
              <a:gd name="connsiteY2" fmla="*/ 7002780 h 7002780"/>
              <a:gd name="connsiteX3" fmla="*/ 0 w 5271134"/>
              <a:gd name="connsiteY3" fmla="*/ 7000876 h 7002780"/>
              <a:gd name="connsiteX4" fmla="*/ 0 w 5271134"/>
              <a:gd name="connsiteY4" fmla="*/ 0 h 7002780"/>
              <a:gd name="connsiteX0" fmla="*/ 0 w 5271134"/>
              <a:gd name="connsiteY0" fmla="*/ 5862 h 7008642"/>
              <a:gd name="connsiteX1" fmla="*/ 3985601 w 5271134"/>
              <a:gd name="connsiteY1" fmla="*/ 0 h 7008642"/>
              <a:gd name="connsiteX2" fmla="*/ 5271134 w 5271134"/>
              <a:gd name="connsiteY2" fmla="*/ 5862 h 7008642"/>
              <a:gd name="connsiteX3" fmla="*/ 2619374 w 5271134"/>
              <a:gd name="connsiteY3" fmla="*/ 7008642 h 7008642"/>
              <a:gd name="connsiteX4" fmla="*/ 0 w 5271134"/>
              <a:gd name="connsiteY4" fmla="*/ 7006738 h 7008642"/>
              <a:gd name="connsiteX5" fmla="*/ 0 w 5271134"/>
              <a:gd name="connsiteY5" fmla="*/ 5862 h 7008642"/>
              <a:gd name="connsiteX0" fmla="*/ 0 w 5271134"/>
              <a:gd name="connsiteY0" fmla="*/ 5862 h 7008642"/>
              <a:gd name="connsiteX1" fmla="*/ 3921124 w 5271134"/>
              <a:gd name="connsiteY1" fmla="*/ 0 h 7008642"/>
              <a:gd name="connsiteX2" fmla="*/ 3985601 w 5271134"/>
              <a:gd name="connsiteY2" fmla="*/ 0 h 7008642"/>
              <a:gd name="connsiteX3" fmla="*/ 5271134 w 5271134"/>
              <a:gd name="connsiteY3" fmla="*/ 5862 h 7008642"/>
              <a:gd name="connsiteX4" fmla="*/ 2619374 w 5271134"/>
              <a:gd name="connsiteY4" fmla="*/ 7008642 h 7008642"/>
              <a:gd name="connsiteX5" fmla="*/ 0 w 5271134"/>
              <a:gd name="connsiteY5" fmla="*/ 7006738 h 7008642"/>
              <a:gd name="connsiteX6" fmla="*/ 0 w 5271134"/>
              <a:gd name="connsiteY6" fmla="*/ 5862 h 7008642"/>
              <a:gd name="connsiteX0" fmla="*/ 0 w 5271134"/>
              <a:gd name="connsiteY0" fmla="*/ 5862 h 7008642"/>
              <a:gd name="connsiteX1" fmla="*/ 3885405 w 5271134"/>
              <a:gd name="connsiteY1" fmla="*/ 1099 h 7008642"/>
              <a:gd name="connsiteX2" fmla="*/ 3921124 w 5271134"/>
              <a:gd name="connsiteY2" fmla="*/ 0 h 7008642"/>
              <a:gd name="connsiteX3" fmla="*/ 3985601 w 5271134"/>
              <a:gd name="connsiteY3" fmla="*/ 0 h 7008642"/>
              <a:gd name="connsiteX4" fmla="*/ 5271134 w 5271134"/>
              <a:gd name="connsiteY4" fmla="*/ 5862 h 7008642"/>
              <a:gd name="connsiteX5" fmla="*/ 2619374 w 5271134"/>
              <a:gd name="connsiteY5" fmla="*/ 7008642 h 7008642"/>
              <a:gd name="connsiteX6" fmla="*/ 0 w 5271134"/>
              <a:gd name="connsiteY6" fmla="*/ 7006738 h 7008642"/>
              <a:gd name="connsiteX7" fmla="*/ 0 w 5271134"/>
              <a:gd name="connsiteY7" fmla="*/ 5862 h 7008642"/>
              <a:gd name="connsiteX0" fmla="*/ 0 w 5271134"/>
              <a:gd name="connsiteY0" fmla="*/ 5862 h 7056120"/>
              <a:gd name="connsiteX1" fmla="*/ 3885405 w 5271134"/>
              <a:gd name="connsiteY1" fmla="*/ 1099 h 7056120"/>
              <a:gd name="connsiteX2" fmla="*/ 1299844 w 5271134"/>
              <a:gd name="connsiteY2" fmla="*/ 7056120 h 7056120"/>
              <a:gd name="connsiteX3" fmla="*/ 3985601 w 5271134"/>
              <a:gd name="connsiteY3" fmla="*/ 0 h 7056120"/>
              <a:gd name="connsiteX4" fmla="*/ 5271134 w 5271134"/>
              <a:gd name="connsiteY4" fmla="*/ 5862 h 7056120"/>
              <a:gd name="connsiteX5" fmla="*/ 2619374 w 5271134"/>
              <a:gd name="connsiteY5" fmla="*/ 7008642 h 7056120"/>
              <a:gd name="connsiteX6" fmla="*/ 0 w 5271134"/>
              <a:gd name="connsiteY6" fmla="*/ 7006738 h 7056120"/>
              <a:gd name="connsiteX7" fmla="*/ 0 w 5271134"/>
              <a:gd name="connsiteY7" fmla="*/ 5862 h 7056120"/>
              <a:gd name="connsiteX0" fmla="*/ 0 w 5271134"/>
              <a:gd name="connsiteY0" fmla="*/ 5862 h 7056120"/>
              <a:gd name="connsiteX1" fmla="*/ 3885405 w 5271134"/>
              <a:gd name="connsiteY1" fmla="*/ 1099 h 7056120"/>
              <a:gd name="connsiteX2" fmla="*/ 3799204 w 5271134"/>
              <a:gd name="connsiteY2" fmla="*/ 234462 h 7056120"/>
              <a:gd name="connsiteX3" fmla="*/ 1299844 w 5271134"/>
              <a:gd name="connsiteY3" fmla="*/ 7056120 h 7056120"/>
              <a:gd name="connsiteX4" fmla="*/ 3985601 w 5271134"/>
              <a:gd name="connsiteY4" fmla="*/ 0 h 7056120"/>
              <a:gd name="connsiteX5" fmla="*/ 5271134 w 5271134"/>
              <a:gd name="connsiteY5" fmla="*/ 5862 h 7056120"/>
              <a:gd name="connsiteX6" fmla="*/ 2619374 w 5271134"/>
              <a:gd name="connsiteY6" fmla="*/ 7008642 h 7056120"/>
              <a:gd name="connsiteX7" fmla="*/ 0 w 5271134"/>
              <a:gd name="connsiteY7" fmla="*/ 7006738 h 7056120"/>
              <a:gd name="connsiteX8" fmla="*/ 0 w 5271134"/>
              <a:gd name="connsiteY8" fmla="*/ 5862 h 7056120"/>
              <a:gd name="connsiteX0" fmla="*/ 0 w 5271134"/>
              <a:gd name="connsiteY0" fmla="*/ 5862 h 7056120"/>
              <a:gd name="connsiteX1" fmla="*/ 3885405 w 5271134"/>
              <a:gd name="connsiteY1" fmla="*/ 1099 h 7056120"/>
              <a:gd name="connsiteX2" fmla="*/ 1208404 w 5271134"/>
              <a:gd name="connsiteY2" fmla="*/ 7046742 h 7056120"/>
              <a:gd name="connsiteX3" fmla="*/ 1299844 w 5271134"/>
              <a:gd name="connsiteY3" fmla="*/ 7056120 h 7056120"/>
              <a:gd name="connsiteX4" fmla="*/ 3985601 w 5271134"/>
              <a:gd name="connsiteY4" fmla="*/ 0 h 7056120"/>
              <a:gd name="connsiteX5" fmla="*/ 5271134 w 5271134"/>
              <a:gd name="connsiteY5" fmla="*/ 5862 h 7056120"/>
              <a:gd name="connsiteX6" fmla="*/ 2619374 w 5271134"/>
              <a:gd name="connsiteY6" fmla="*/ 7008642 h 7056120"/>
              <a:gd name="connsiteX7" fmla="*/ 0 w 5271134"/>
              <a:gd name="connsiteY7" fmla="*/ 7006738 h 7056120"/>
              <a:gd name="connsiteX8" fmla="*/ 0 w 5271134"/>
              <a:gd name="connsiteY8" fmla="*/ 5862 h 7056120"/>
              <a:gd name="connsiteX0" fmla="*/ 0 w 5271134"/>
              <a:gd name="connsiteY0" fmla="*/ 5862 h 7056120"/>
              <a:gd name="connsiteX1" fmla="*/ 3908265 w 5271134"/>
              <a:gd name="connsiteY1" fmla="*/ 8719 h 7056120"/>
              <a:gd name="connsiteX2" fmla="*/ 1208404 w 5271134"/>
              <a:gd name="connsiteY2" fmla="*/ 7046742 h 7056120"/>
              <a:gd name="connsiteX3" fmla="*/ 1299844 w 5271134"/>
              <a:gd name="connsiteY3" fmla="*/ 7056120 h 7056120"/>
              <a:gd name="connsiteX4" fmla="*/ 3985601 w 5271134"/>
              <a:gd name="connsiteY4" fmla="*/ 0 h 7056120"/>
              <a:gd name="connsiteX5" fmla="*/ 5271134 w 5271134"/>
              <a:gd name="connsiteY5" fmla="*/ 5862 h 7056120"/>
              <a:gd name="connsiteX6" fmla="*/ 2619374 w 5271134"/>
              <a:gd name="connsiteY6" fmla="*/ 7008642 h 7056120"/>
              <a:gd name="connsiteX7" fmla="*/ 0 w 5271134"/>
              <a:gd name="connsiteY7" fmla="*/ 7006738 h 7056120"/>
              <a:gd name="connsiteX8" fmla="*/ 0 w 5271134"/>
              <a:gd name="connsiteY8" fmla="*/ 5862 h 7056120"/>
              <a:gd name="connsiteX0" fmla="*/ 0 w 5271134"/>
              <a:gd name="connsiteY0" fmla="*/ 5862 h 7056120"/>
              <a:gd name="connsiteX1" fmla="*/ 3908265 w 5271134"/>
              <a:gd name="connsiteY1" fmla="*/ 8719 h 7056120"/>
              <a:gd name="connsiteX2" fmla="*/ 1231264 w 5271134"/>
              <a:gd name="connsiteY2" fmla="*/ 7046742 h 7056120"/>
              <a:gd name="connsiteX3" fmla="*/ 1299844 w 5271134"/>
              <a:gd name="connsiteY3" fmla="*/ 7056120 h 7056120"/>
              <a:gd name="connsiteX4" fmla="*/ 3985601 w 5271134"/>
              <a:gd name="connsiteY4" fmla="*/ 0 h 7056120"/>
              <a:gd name="connsiteX5" fmla="*/ 5271134 w 5271134"/>
              <a:gd name="connsiteY5" fmla="*/ 5862 h 7056120"/>
              <a:gd name="connsiteX6" fmla="*/ 2619374 w 5271134"/>
              <a:gd name="connsiteY6" fmla="*/ 7008642 h 7056120"/>
              <a:gd name="connsiteX7" fmla="*/ 0 w 5271134"/>
              <a:gd name="connsiteY7" fmla="*/ 7006738 h 7056120"/>
              <a:gd name="connsiteX8" fmla="*/ 0 w 5271134"/>
              <a:gd name="connsiteY8" fmla="*/ 5862 h 7056120"/>
              <a:gd name="connsiteX0" fmla="*/ 0 w 5271134"/>
              <a:gd name="connsiteY0" fmla="*/ 6350 h 7056608"/>
              <a:gd name="connsiteX1" fmla="*/ 2670174 w 5271134"/>
              <a:gd name="connsiteY1" fmla="*/ 0 h 7056608"/>
              <a:gd name="connsiteX2" fmla="*/ 3908265 w 5271134"/>
              <a:gd name="connsiteY2" fmla="*/ 9207 h 7056608"/>
              <a:gd name="connsiteX3" fmla="*/ 1231264 w 5271134"/>
              <a:gd name="connsiteY3" fmla="*/ 7047230 h 7056608"/>
              <a:gd name="connsiteX4" fmla="*/ 1299844 w 5271134"/>
              <a:gd name="connsiteY4" fmla="*/ 7056608 h 7056608"/>
              <a:gd name="connsiteX5" fmla="*/ 3985601 w 5271134"/>
              <a:gd name="connsiteY5" fmla="*/ 488 h 7056608"/>
              <a:gd name="connsiteX6" fmla="*/ 5271134 w 5271134"/>
              <a:gd name="connsiteY6" fmla="*/ 6350 h 7056608"/>
              <a:gd name="connsiteX7" fmla="*/ 2619374 w 5271134"/>
              <a:gd name="connsiteY7" fmla="*/ 7009130 h 7056608"/>
              <a:gd name="connsiteX8" fmla="*/ 0 w 5271134"/>
              <a:gd name="connsiteY8" fmla="*/ 7007226 h 7056608"/>
              <a:gd name="connsiteX9" fmla="*/ 0 w 5271134"/>
              <a:gd name="connsiteY9" fmla="*/ 6350 h 7056608"/>
              <a:gd name="connsiteX0" fmla="*/ 0 w 5271134"/>
              <a:gd name="connsiteY0" fmla="*/ 6350 h 7056608"/>
              <a:gd name="connsiteX1" fmla="*/ 2581274 w 5271134"/>
              <a:gd name="connsiteY1" fmla="*/ 0 h 7056608"/>
              <a:gd name="connsiteX2" fmla="*/ 2670174 w 5271134"/>
              <a:gd name="connsiteY2" fmla="*/ 0 h 7056608"/>
              <a:gd name="connsiteX3" fmla="*/ 3908265 w 5271134"/>
              <a:gd name="connsiteY3" fmla="*/ 9207 h 7056608"/>
              <a:gd name="connsiteX4" fmla="*/ 1231264 w 5271134"/>
              <a:gd name="connsiteY4" fmla="*/ 7047230 h 7056608"/>
              <a:gd name="connsiteX5" fmla="*/ 1299844 w 5271134"/>
              <a:gd name="connsiteY5" fmla="*/ 7056608 h 7056608"/>
              <a:gd name="connsiteX6" fmla="*/ 3985601 w 5271134"/>
              <a:gd name="connsiteY6" fmla="*/ 488 h 7056608"/>
              <a:gd name="connsiteX7" fmla="*/ 5271134 w 5271134"/>
              <a:gd name="connsiteY7" fmla="*/ 6350 h 7056608"/>
              <a:gd name="connsiteX8" fmla="*/ 2619374 w 5271134"/>
              <a:gd name="connsiteY8" fmla="*/ 7009130 h 7056608"/>
              <a:gd name="connsiteX9" fmla="*/ 0 w 5271134"/>
              <a:gd name="connsiteY9" fmla="*/ 7007226 h 7056608"/>
              <a:gd name="connsiteX10" fmla="*/ 0 w 5271134"/>
              <a:gd name="connsiteY10" fmla="*/ 6350 h 7056608"/>
              <a:gd name="connsiteX0" fmla="*/ 1244600 w 5271134"/>
              <a:gd name="connsiteY0" fmla="*/ 6350 h 7056608"/>
              <a:gd name="connsiteX1" fmla="*/ 2581274 w 5271134"/>
              <a:gd name="connsiteY1" fmla="*/ 0 h 7056608"/>
              <a:gd name="connsiteX2" fmla="*/ 2670174 w 5271134"/>
              <a:gd name="connsiteY2" fmla="*/ 0 h 7056608"/>
              <a:gd name="connsiteX3" fmla="*/ 3908265 w 5271134"/>
              <a:gd name="connsiteY3" fmla="*/ 9207 h 7056608"/>
              <a:gd name="connsiteX4" fmla="*/ 1231264 w 5271134"/>
              <a:gd name="connsiteY4" fmla="*/ 7047230 h 7056608"/>
              <a:gd name="connsiteX5" fmla="*/ 1299844 w 5271134"/>
              <a:gd name="connsiteY5" fmla="*/ 7056608 h 7056608"/>
              <a:gd name="connsiteX6" fmla="*/ 3985601 w 5271134"/>
              <a:gd name="connsiteY6" fmla="*/ 488 h 7056608"/>
              <a:gd name="connsiteX7" fmla="*/ 5271134 w 5271134"/>
              <a:gd name="connsiteY7" fmla="*/ 6350 h 7056608"/>
              <a:gd name="connsiteX8" fmla="*/ 2619374 w 5271134"/>
              <a:gd name="connsiteY8" fmla="*/ 7009130 h 7056608"/>
              <a:gd name="connsiteX9" fmla="*/ 0 w 5271134"/>
              <a:gd name="connsiteY9" fmla="*/ 7007226 h 7056608"/>
              <a:gd name="connsiteX10" fmla="*/ 1244600 w 5271134"/>
              <a:gd name="connsiteY10" fmla="*/ 6350 h 7056608"/>
              <a:gd name="connsiteX0" fmla="*/ 13336 w 4039870"/>
              <a:gd name="connsiteY0" fmla="*/ 6350 h 7056608"/>
              <a:gd name="connsiteX1" fmla="*/ 1350010 w 4039870"/>
              <a:gd name="connsiteY1" fmla="*/ 0 h 7056608"/>
              <a:gd name="connsiteX2" fmla="*/ 1438910 w 4039870"/>
              <a:gd name="connsiteY2" fmla="*/ 0 h 7056608"/>
              <a:gd name="connsiteX3" fmla="*/ 2677001 w 4039870"/>
              <a:gd name="connsiteY3" fmla="*/ 9207 h 7056608"/>
              <a:gd name="connsiteX4" fmla="*/ 0 w 4039870"/>
              <a:gd name="connsiteY4" fmla="*/ 7047230 h 7056608"/>
              <a:gd name="connsiteX5" fmla="*/ 68580 w 4039870"/>
              <a:gd name="connsiteY5" fmla="*/ 7056608 h 7056608"/>
              <a:gd name="connsiteX6" fmla="*/ 2754337 w 4039870"/>
              <a:gd name="connsiteY6" fmla="*/ 488 h 7056608"/>
              <a:gd name="connsiteX7" fmla="*/ 4039870 w 4039870"/>
              <a:gd name="connsiteY7" fmla="*/ 6350 h 7056608"/>
              <a:gd name="connsiteX8" fmla="*/ 1388110 w 4039870"/>
              <a:gd name="connsiteY8" fmla="*/ 7009130 h 7056608"/>
              <a:gd name="connsiteX9" fmla="*/ 32386 w 4039870"/>
              <a:gd name="connsiteY9" fmla="*/ 7013576 h 7056608"/>
              <a:gd name="connsiteX10" fmla="*/ 13336 w 4039870"/>
              <a:gd name="connsiteY10" fmla="*/ 6350 h 7056608"/>
              <a:gd name="connsiteX0" fmla="*/ 13336 w 4039870"/>
              <a:gd name="connsiteY0" fmla="*/ 9525 h 7059783"/>
              <a:gd name="connsiteX1" fmla="*/ 1350010 w 4039870"/>
              <a:gd name="connsiteY1" fmla="*/ 3175 h 7059783"/>
              <a:gd name="connsiteX2" fmla="*/ 1400810 w 4039870"/>
              <a:gd name="connsiteY2" fmla="*/ 0 h 7059783"/>
              <a:gd name="connsiteX3" fmla="*/ 1438910 w 4039870"/>
              <a:gd name="connsiteY3" fmla="*/ 3175 h 7059783"/>
              <a:gd name="connsiteX4" fmla="*/ 2677001 w 4039870"/>
              <a:gd name="connsiteY4" fmla="*/ 12382 h 7059783"/>
              <a:gd name="connsiteX5" fmla="*/ 0 w 4039870"/>
              <a:gd name="connsiteY5" fmla="*/ 7050405 h 7059783"/>
              <a:gd name="connsiteX6" fmla="*/ 68580 w 4039870"/>
              <a:gd name="connsiteY6" fmla="*/ 7059783 h 7059783"/>
              <a:gd name="connsiteX7" fmla="*/ 2754337 w 4039870"/>
              <a:gd name="connsiteY7" fmla="*/ 3663 h 7059783"/>
              <a:gd name="connsiteX8" fmla="*/ 4039870 w 4039870"/>
              <a:gd name="connsiteY8" fmla="*/ 9525 h 7059783"/>
              <a:gd name="connsiteX9" fmla="*/ 1388110 w 4039870"/>
              <a:gd name="connsiteY9" fmla="*/ 7012305 h 7059783"/>
              <a:gd name="connsiteX10" fmla="*/ 32386 w 4039870"/>
              <a:gd name="connsiteY10" fmla="*/ 7016751 h 7059783"/>
              <a:gd name="connsiteX11" fmla="*/ 13336 w 4039870"/>
              <a:gd name="connsiteY11" fmla="*/ 9525 h 7059783"/>
              <a:gd name="connsiteX0" fmla="*/ 13336 w 4039870"/>
              <a:gd name="connsiteY0" fmla="*/ 6350 h 7056608"/>
              <a:gd name="connsiteX1" fmla="*/ 1350010 w 4039870"/>
              <a:gd name="connsiteY1" fmla="*/ 0 h 7056608"/>
              <a:gd name="connsiteX2" fmla="*/ 19685 w 4039870"/>
              <a:gd name="connsiteY2" fmla="*/ 3749675 h 7056608"/>
              <a:gd name="connsiteX3" fmla="*/ 1438910 w 4039870"/>
              <a:gd name="connsiteY3" fmla="*/ 0 h 7056608"/>
              <a:gd name="connsiteX4" fmla="*/ 2677001 w 4039870"/>
              <a:gd name="connsiteY4" fmla="*/ 9207 h 7056608"/>
              <a:gd name="connsiteX5" fmla="*/ 0 w 4039870"/>
              <a:gd name="connsiteY5" fmla="*/ 7047230 h 7056608"/>
              <a:gd name="connsiteX6" fmla="*/ 68580 w 4039870"/>
              <a:gd name="connsiteY6" fmla="*/ 7056608 h 7056608"/>
              <a:gd name="connsiteX7" fmla="*/ 2754337 w 4039870"/>
              <a:gd name="connsiteY7" fmla="*/ 488 h 7056608"/>
              <a:gd name="connsiteX8" fmla="*/ 4039870 w 4039870"/>
              <a:gd name="connsiteY8" fmla="*/ 6350 h 7056608"/>
              <a:gd name="connsiteX9" fmla="*/ 1388110 w 4039870"/>
              <a:gd name="connsiteY9" fmla="*/ 7009130 h 7056608"/>
              <a:gd name="connsiteX10" fmla="*/ 32386 w 4039870"/>
              <a:gd name="connsiteY10" fmla="*/ 7013576 h 7056608"/>
              <a:gd name="connsiteX11" fmla="*/ 13336 w 4039870"/>
              <a:gd name="connsiteY11" fmla="*/ 6350 h 7056608"/>
              <a:gd name="connsiteX0" fmla="*/ 13336 w 4039870"/>
              <a:gd name="connsiteY0" fmla="*/ 6350 h 7056608"/>
              <a:gd name="connsiteX1" fmla="*/ 1369060 w 4039870"/>
              <a:gd name="connsiteY1" fmla="*/ 0 h 7056608"/>
              <a:gd name="connsiteX2" fmla="*/ 19685 w 4039870"/>
              <a:gd name="connsiteY2" fmla="*/ 3749675 h 7056608"/>
              <a:gd name="connsiteX3" fmla="*/ 1438910 w 4039870"/>
              <a:gd name="connsiteY3" fmla="*/ 0 h 7056608"/>
              <a:gd name="connsiteX4" fmla="*/ 2677001 w 4039870"/>
              <a:gd name="connsiteY4" fmla="*/ 9207 h 7056608"/>
              <a:gd name="connsiteX5" fmla="*/ 0 w 4039870"/>
              <a:gd name="connsiteY5" fmla="*/ 7047230 h 7056608"/>
              <a:gd name="connsiteX6" fmla="*/ 68580 w 4039870"/>
              <a:gd name="connsiteY6" fmla="*/ 7056608 h 7056608"/>
              <a:gd name="connsiteX7" fmla="*/ 2754337 w 4039870"/>
              <a:gd name="connsiteY7" fmla="*/ 488 h 7056608"/>
              <a:gd name="connsiteX8" fmla="*/ 4039870 w 4039870"/>
              <a:gd name="connsiteY8" fmla="*/ 6350 h 7056608"/>
              <a:gd name="connsiteX9" fmla="*/ 1388110 w 4039870"/>
              <a:gd name="connsiteY9" fmla="*/ 7009130 h 7056608"/>
              <a:gd name="connsiteX10" fmla="*/ 32386 w 4039870"/>
              <a:gd name="connsiteY10" fmla="*/ 7013576 h 7056608"/>
              <a:gd name="connsiteX11" fmla="*/ 13336 w 4039870"/>
              <a:gd name="connsiteY11" fmla="*/ 6350 h 7056608"/>
              <a:gd name="connsiteX0" fmla="*/ 13336 w 4039870"/>
              <a:gd name="connsiteY0" fmla="*/ 6350 h 7056608"/>
              <a:gd name="connsiteX1" fmla="*/ 1369060 w 4039870"/>
              <a:gd name="connsiteY1" fmla="*/ 0 h 7056608"/>
              <a:gd name="connsiteX2" fmla="*/ 807085 w 4039870"/>
              <a:gd name="connsiteY2" fmla="*/ 1568450 h 7056608"/>
              <a:gd name="connsiteX3" fmla="*/ 19685 w 4039870"/>
              <a:gd name="connsiteY3" fmla="*/ 3749675 h 7056608"/>
              <a:gd name="connsiteX4" fmla="*/ 1438910 w 4039870"/>
              <a:gd name="connsiteY4" fmla="*/ 0 h 7056608"/>
              <a:gd name="connsiteX5" fmla="*/ 2677001 w 4039870"/>
              <a:gd name="connsiteY5" fmla="*/ 9207 h 7056608"/>
              <a:gd name="connsiteX6" fmla="*/ 0 w 4039870"/>
              <a:gd name="connsiteY6" fmla="*/ 7047230 h 7056608"/>
              <a:gd name="connsiteX7" fmla="*/ 68580 w 4039870"/>
              <a:gd name="connsiteY7" fmla="*/ 7056608 h 7056608"/>
              <a:gd name="connsiteX8" fmla="*/ 2754337 w 4039870"/>
              <a:gd name="connsiteY8" fmla="*/ 488 h 7056608"/>
              <a:gd name="connsiteX9" fmla="*/ 4039870 w 4039870"/>
              <a:gd name="connsiteY9" fmla="*/ 6350 h 7056608"/>
              <a:gd name="connsiteX10" fmla="*/ 1388110 w 4039870"/>
              <a:gd name="connsiteY10" fmla="*/ 7009130 h 7056608"/>
              <a:gd name="connsiteX11" fmla="*/ 32386 w 4039870"/>
              <a:gd name="connsiteY11" fmla="*/ 7013576 h 7056608"/>
              <a:gd name="connsiteX12" fmla="*/ 13336 w 4039870"/>
              <a:gd name="connsiteY12" fmla="*/ 6350 h 7056608"/>
              <a:gd name="connsiteX0" fmla="*/ 13336 w 4039870"/>
              <a:gd name="connsiteY0" fmla="*/ 6350 h 7056608"/>
              <a:gd name="connsiteX1" fmla="*/ 1369060 w 4039870"/>
              <a:gd name="connsiteY1" fmla="*/ 0 h 7056608"/>
              <a:gd name="connsiteX2" fmla="*/ 22860 w 4039870"/>
              <a:gd name="connsiteY2" fmla="*/ 3540125 h 7056608"/>
              <a:gd name="connsiteX3" fmla="*/ 19685 w 4039870"/>
              <a:gd name="connsiteY3" fmla="*/ 3749675 h 7056608"/>
              <a:gd name="connsiteX4" fmla="*/ 1438910 w 4039870"/>
              <a:gd name="connsiteY4" fmla="*/ 0 h 7056608"/>
              <a:gd name="connsiteX5" fmla="*/ 2677001 w 4039870"/>
              <a:gd name="connsiteY5" fmla="*/ 9207 h 7056608"/>
              <a:gd name="connsiteX6" fmla="*/ 0 w 4039870"/>
              <a:gd name="connsiteY6" fmla="*/ 7047230 h 7056608"/>
              <a:gd name="connsiteX7" fmla="*/ 68580 w 4039870"/>
              <a:gd name="connsiteY7" fmla="*/ 7056608 h 7056608"/>
              <a:gd name="connsiteX8" fmla="*/ 2754337 w 4039870"/>
              <a:gd name="connsiteY8" fmla="*/ 488 h 7056608"/>
              <a:gd name="connsiteX9" fmla="*/ 4039870 w 4039870"/>
              <a:gd name="connsiteY9" fmla="*/ 6350 h 7056608"/>
              <a:gd name="connsiteX10" fmla="*/ 1388110 w 4039870"/>
              <a:gd name="connsiteY10" fmla="*/ 7009130 h 7056608"/>
              <a:gd name="connsiteX11" fmla="*/ 32386 w 4039870"/>
              <a:gd name="connsiteY11" fmla="*/ 7013576 h 7056608"/>
              <a:gd name="connsiteX12" fmla="*/ 13336 w 4039870"/>
              <a:gd name="connsiteY12" fmla="*/ 6350 h 7056608"/>
              <a:gd name="connsiteX0" fmla="*/ 13336 w 4039870"/>
              <a:gd name="connsiteY0" fmla="*/ 6350 h 7056608"/>
              <a:gd name="connsiteX1" fmla="*/ 1369060 w 4039870"/>
              <a:gd name="connsiteY1" fmla="*/ 0 h 7056608"/>
              <a:gd name="connsiteX2" fmla="*/ 19685 w 4039870"/>
              <a:gd name="connsiteY2" fmla="*/ 3556000 h 7056608"/>
              <a:gd name="connsiteX3" fmla="*/ 19685 w 4039870"/>
              <a:gd name="connsiteY3" fmla="*/ 3749675 h 7056608"/>
              <a:gd name="connsiteX4" fmla="*/ 1438910 w 4039870"/>
              <a:gd name="connsiteY4" fmla="*/ 0 h 7056608"/>
              <a:gd name="connsiteX5" fmla="*/ 2677001 w 4039870"/>
              <a:gd name="connsiteY5" fmla="*/ 9207 h 7056608"/>
              <a:gd name="connsiteX6" fmla="*/ 0 w 4039870"/>
              <a:gd name="connsiteY6" fmla="*/ 7047230 h 7056608"/>
              <a:gd name="connsiteX7" fmla="*/ 68580 w 4039870"/>
              <a:gd name="connsiteY7" fmla="*/ 7056608 h 7056608"/>
              <a:gd name="connsiteX8" fmla="*/ 2754337 w 4039870"/>
              <a:gd name="connsiteY8" fmla="*/ 488 h 7056608"/>
              <a:gd name="connsiteX9" fmla="*/ 4039870 w 4039870"/>
              <a:gd name="connsiteY9" fmla="*/ 6350 h 7056608"/>
              <a:gd name="connsiteX10" fmla="*/ 1388110 w 4039870"/>
              <a:gd name="connsiteY10" fmla="*/ 7009130 h 7056608"/>
              <a:gd name="connsiteX11" fmla="*/ 32386 w 4039870"/>
              <a:gd name="connsiteY11" fmla="*/ 7013576 h 7056608"/>
              <a:gd name="connsiteX12" fmla="*/ 13336 w 4039870"/>
              <a:gd name="connsiteY12" fmla="*/ 6350 h 7056608"/>
              <a:gd name="connsiteX0" fmla="*/ 13336 w 4039870"/>
              <a:gd name="connsiteY0" fmla="*/ 6350 h 7056608"/>
              <a:gd name="connsiteX1" fmla="*/ 1369060 w 4039870"/>
              <a:gd name="connsiteY1" fmla="*/ 0 h 7056608"/>
              <a:gd name="connsiteX2" fmla="*/ 19685 w 4039870"/>
              <a:gd name="connsiteY2" fmla="*/ 3568700 h 7056608"/>
              <a:gd name="connsiteX3" fmla="*/ 19685 w 4039870"/>
              <a:gd name="connsiteY3" fmla="*/ 3749675 h 7056608"/>
              <a:gd name="connsiteX4" fmla="*/ 1438910 w 4039870"/>
              <a:gd name="connsiteY4" fmla="*/ 0 h 7056608"/>
              <a:gd name="connsiteX5" fmla="*/ 2677001 w 4039870"/>
              <a:gd name="connsiteY5" fmla="*/ 9207 h 7056608"/>
              <a:gd name="connsiteX6" fmla="*/ 0 w 4039870"/>
              <a:gd name="connsiteY6" fmla="*/ 7047230 h 7056608"/>
              <a:gd name="connsiteX7" fmla="*/ 68580 w 4039870"/>
              <a:gd name="connsiteY7" fmla="*/ 7056608 h 7056608"/>
              <a:gd name="connsiteX8" fmla="*/ 2754337 w 4039870"/>
              <a:gd name="connsiteY8" fmla="*/ 488 h 7056608"/>
              <a:gd name="connsiteX9" fmla="*/ 4039870 w 4039870"/>
              <a:gd name="connsiteY9" fmla="*/ 6350 h 7056608"/>
              <a:gd name="connsiteX10" fmla="*/ 1388110 w 4039870"/>
              <a:gd name="connsiteY10" fmla="*/ 7009130 h 7056608"/>
              <a:gd name="connsiteX11" fmla="*/ 32386 w 4039870"/>
              <a:gd name="connsiteY11" fmla="*/ 7013576 h 7056608"/>
              <a:gd name="connsiteX12" fmla="*/ 13336 w 4039870"/>
              <a:gd name="connsiteY12" fmla="*/ 6350 h 705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39870" h="7056608">
                <a:moveTo>
                  <a:pt x="13336" y="6350"/>
                </a:moveTo>
                <a:lnTo>
                  <a:pt x="1369060" y="0"/>
                </a:lnTo>
                <a:lnTo>
                  <a:pt x="19685" y="3568700"/>
                </a:lnTo>
                <a:cubicBezTo>
                  <a:pt x="18627" y="3638550"/>
                  <a:pt x="20743" y="3679825"/>
                  <a:pt x="19685" y="3749675"/>
                </a:cubicBezTo>
                <a:lnTo>
                  <a:pt x="1438910" y="0"/>
                </a:lnTo>
                <a:lnTo>
                  <a:pt x="2677001" y="9207"/>
                </a:lnTo>
                <a:lnTo>
                  <a:pt x="0" y="7047230"/>
                </a:lnTo>
                <a:lnTo>
                  <a:pt x="68580" y="7056608"/>
                </a:lnTo>
                <a:lnTo>
                  <a:pt x="2754337" y="488"/>
                </a:lnTo>
                <a:lnTo>
                  <a:pt x="4039870" y="6350"/>
                </a:lnTo>
                <a:lnTo>
                  <a:pt x="1388110" y="7009130"/>
                </a:lnTo>
                <a:lnTo>
                  <a:pt x="32386" y="7013576"/>
                </a:lnTo>
                <a:lnTo>
                  <a:pt x="13336" y="6350"/>
                </a:lnTo>
                <a:close/>
              </a:path>
            </a:pathLst>
          </a:custGeom>
          <a:solidFill>
            <a:schemeClr val="bg1">
              <a:lumMod val="65000"/>
            </a:schemeClr>
          </a:solidFill>
        </p:spPr>
        <p:txBody>
          <a:bodyPr lIns="576000" tIns="3348000"/>
          <a:lstStyle>
            <a:lvl1pPr>
              <a:defRPr sz="1200" b="1">
                <a:solidFill>
                  <a:schemeClr val="bg1"/>
                </a:solidFill>
              </a:defRPr>
            </a:lvl1pPr>
          </a:lstStyle>
          <a:p>
            <a:endParaRPr lang="en-US"/>
          </a:p>
        </p:txBody>
      </p:sp>
      <p:sp>
        <p:nvSpPr>
          <p:cNvPr id="9" name="Text Placeholder 3"/>
          <p:cNvSpPr>
            <a:spLocks noGrp="1"/>
          </p:cNvSpPr>
          <p:nvPr>
            <p:ph type="body" sz="quarter" idx="13"/>
          </p:nvPr>
        </p:nvSpPr>
        <p:spPr>
          <a:xfrm>
            <a:off x="3914774" y="1822450"/>
            <a:ext cx="4740276" cy="4641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p:cNvSpPr>
            <a:spLocks noGrp="1"/>
          </p:cNvSpPr>
          <p:nvPr>
            <p:ph type="title"/>
          </p:nvPr>
        </p:nvSpPr>
        <p:spPr>
          <a:xfrm>
            <a:off x="3914774" y="398977"/>
            <a:ext cx="4767832" cy="800867"/>
          </a:xfrm>
        </p:spPr>
        <p:txBody>
          <a:bodyPr/>
          <a:lstStyle/>
          <a:p>
            <a:r>
              <a:rPr lang="en-US" dirty="0"/>
              <a:t>Click to edit Master title style</a:t>
            </a:r>
          </a:p>
        </p:txBody>
      </p:sp>
      <p:sp>
        <p:nvSpPr>
          <p:cNvPr id="13" name="Parallelogram 12"/>
          <p:cNvSpPr/>
          <p:nvPr userDrawn="1"/>
        </p:nvSpPr>
        <p:spPr>
          <a:xfrm>
            <a:off x="3914774" y="1364891"/>
            <a:ext cx="720000" cy="60959"/>
          </a:xfrm>
          <a:prstGeom prst="parallelogram">
            <a:avLst>
              <a:gd name="adj" fmla="val 3799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796926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3 Body with image white">
    <p:bg>
      <p:bgPr>
        <a:solidFill>
          <a:schemeClr val="bg1"/>
        </a:solidFill>
        <a:effectLst/>
      </p:bgPr>
    </p:bg>
    <p:spTree>
      <p:nvGrpSpPr>
        <p:cNvPr id="1" name=""/>
        <p:cNvGrpSpPr/>
        <p:nvPr/>
      </p:nvGrpSpPr>
      <p:grpSpPr>
        <a:xfrm>
          <a:off x="0" y="0"/>
          <a:ext cx="0" cy="0"/>
          <a:chOff x="0" y="0"/>
          <a:chExt cx="0" cy="0"/>
        </a:xfrm>
      </p:grpSpPr>
      <p:sp>
        <p:nvSpPr>
          <p:cNvPr id="5" name="Parallelogram 4"/>
          <p:cNvSpPr/>
          <p:nvPr userDrawn="1"/>
        </p:nvSpPr>
        <p:spPr>
          <a:xfrm>
            <a:off x="3260725" y="1364891"/>
            <a:ext cx="720000" cy="60959"/>
          </a:xfrm>
          <a:prstGeom prst="parallelogram">
            <a:avLst>
              <a:gd name="adj" fmla="val 3799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Text Placeholder 2"/>
          <p:cNvSpPr>
            <a:spLocks noGrp="1"/>
          </p:cNvSpPr>
          <p:nvPr>
            <p:ph type="body" sz="quarter" idx="11"/>
          </p:nvPr>
        </p:nvSpPr>
        <p:spPr>
          <a:xfrm>
            <a:off x="3260725" y="1828800"/>
            <a:ext cx="5287962" cy="456035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260725" y="398977"/>
            <a:ext cx="5297488" cy="800867"/>
          </a:xfrm>
        </p:spPr>
        <p:txBody>
          <a:bodyPr/>
          <a:lstStyle/>
          <a:p>
            <a:r>
              <a:rPr lang="en-US" dirty="0"/>
              <a:t>Click to edit Master title style</a:t>
            </a:r>
          </a:p>
        </p:txBody>
      </p:sp>
      <p:sp>
        <p:nvSpPr>
          <p:cNvPr id="6" name="Picture Placeholder 5"/>
          <p:cNvSpPr>
            <a:spLocks noGrp="1"/>
          </p:cNvSpPr>
          <p:nvPr>
            <p:ph type="pic" sz="quarter" idx="12"/>
          </p:nvPr>
        </p:nvSpPr>
        <p:spPr>
          <a:xfrm>
            <a:off x="-63500" y="-38101"/>
            <a:ext cx="3441700" cy="6940692"/>
          </a:xfrm>
          <a:custGeom>
            <a:avLst/>
            <a:gdLst>
              <a:gd name="connsiteX0" fmla="*/ 0 w 3441700"/>
              <a:gd name="connsiteY0" fmla="*/ 0 h 6940692"/>
              <a:gd name="connsiteX1" fmla="*/ 3441700 w 3441700"/>
              <a:gd name="connsiteY1" fmla="*/ 0 h 6940692"/>
              <a:gd name="connsiteX2" fmla="*/ 3441700 w 3441700"/>
              <a:gd name="connsiteY2" fmla="*/ 6940692 h 6940692"/>
              <a:gd name="connsiteX3" fmla="*/ 0 w 3441700"/>
              <a:gd name="connsiteY3" fmla="*/ 6940692 h 6940692"/>
              <a:gd name="connsiteX4" fmla="*/ 0 w 3441700"/>
              <a:gd name="connsiteY4" fmla="*/ 0 h 6940692"/>
              <a:gd name="connsiteX0" fmla="*/ 0 w 3441700"/>
              <a:gd name="connsiteY0" fmla="*/ 6349 h 6947041"/>
              <a:gd name="connsiteX1" fmla="*/ 831850 w 3441700"/>
              <a:gd name="connsiteY1" fmla="*/ 0 h 6947041"/>
              <a:gd name="connsiteX2" fmla="*/ 3441700 w 3441700"/>
              <a:gd name="connsiteY2" fmla="*/ 6349 h 6947041"/>
              <a:gd name="connsiteX3" fmla="*/ 3441700 w 3441700"/>
              <a:gd name="connsiteY3" fmla="*/ 6947041 h 6947041"/>
              <a:gd name="connsiteX4" fmla="*/ 0 w 3441700"/>
              <a:gd name="connsiteY4" fmla="*/ 6947041 h 6947041"/>
              <a:gd name="connsiteX5" fmla="*/ 0 w 3441700"/>
              <a:gd name="connsiteY5" fmla="*/ 6349 h 6947041"/>
              <a:gd name="connsiteX0" fmla="*/ 0 w 3441700"/>
              <a:gd name="connsiteY0" fmla="*/ 6349 h 6947041"/>
              <a:gd name="connsiteX1" fmla="*/ 831850 w 3441700"/>
              <a:gd name="connsiteY1" fmla="*/ 0 h 6947041"/>
              <a:gd name="connsiteX2" fmla="*/ 3441700 w 3441700"/>
              <a:gd name="connsiteY2" fmla="*/ 6947041 h 6947041"/>
              <a:gd name="connsiteX3" fmla="*/ 0 w 3441700"/>
              <a:gd name="connsiteY3" fmla="*/ 6947041 h 6947041"/>
              <a:gd name="connsiteX4" fmla="*/ 0 w 3441700"/>
              <a:gd name="connsiteY4" fmla="*/ 6349 h 6947041"/>
              <a:gd name="connsiteX0" fmla="*/ 0 w 3441700"/>
              <a:gd name="connsiteY0" fmla="*/ 6349 h 6947041"/>
              <a:gd name="connsiteX1" fmla="*/ 806450 w 3441700"/>
              <a:gd name="connsiteY1" fmla="*/ 0 h 6947041"/>
              <a:gd name="connsiteX2" fmla="*/ 3441700 w 3441700"/>
              <a:gd name="connsiteY2" fmla="*/ 6947041 h 6947041"/>
              <a:gd name="connsiteX3" fmla="*/ 0 w 3441700"/>
              <a:gd name="connsiteY3" fmla="*/ 6947041 h 6947041"/>
              <a:gd name="connsiteX4" fmla="*/ 0 w 3441700"/>
              <a:gd name="connsiteY4" fmla="*/ 6349 h 6947041"/>
              <a:gd name="connsiteX0" fmla="*/ 0 w 3441700"/>
              <a:gd name="connsiteY0" fmla="*/ 0 h 6940692"/>
              <a:gd name="connsiteX1" fmla="*/ 819150 w 3441700"/>
              <a:gd name="connsiteY1" fmla="*/ 1 h 6940692"/>
              <a:gd name="connsiteX2" fmla="*/ 3441700 w 3441700"/>
              <a:gd name="connsiteY2" fmla="*/ 6940692 h 6940692"/>
              <a:gd name="connsiteX3" fmla="*/ 0 w 3441700"/>
              <a:gd name="connsiteY3" fmla="*/ 6940692 h 6940692"/>
              <a:gd name="connsiteX4" fmla="*/ 0 w 3441700"/>
              <a:gd name="connsiteY4" fmla="*/ 0 h 6940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1700" h="6940692">
                <a:moveTo>
                  <a:pt x="0" y="0"/>
                </a:moveTo>
                <a:lnTo>
                  <a:pt x="819150" y="1"/>
                </a:lnTo>
                <a:lnTo>
                  <a:pt x="3441700" y="6940692"/>
                </a:lnTo>
                <a:lnTo>
                  <a:pt x="0" y="6940692"/>
                </a:lnTo>
                <a:lnTo>
                  <a:pt x="0" y="0"/>
                </a:lnTo>
                <a:close/>
              </a:path>
            </a:pathLst>
          </a:custGeom>
          <a:solidFill>
            <a:schemeClr val="bg1">
              <a:lumMod val="65000"/>
            </a:schemeClr>
          </a:solidFill>
        </p:spPr>
        <p:txBody>
          <a:bodyPr lIns="216000" tIns="3060000"/>
          <a:lstStyle>
            <a:lvl1pPr>
              <a:defRPr sz="1400" b="1">
                <a:solidFill>
                  <a:schemeClr val="bg1"/>
                </a:solidFill>
              </a:defRPr>
            </a:lvl1pPr>
          </a:lstStyle>
          <a:p>
            <a:endParaRPr lang="en-US"/>
          </a:p>
        </p:txBody>
      </p:sp>
    </p:spTree>
    <p:extLst>
      <p:ext uri="{BB962C8B-B14F-4D97-AF65-F5344CB8AC3E}">
        <p14:creationId xmlns:p14="http://schemas.microsoft.com/office/powerpoint/2010/main" val="3689009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4 Body with image white">
    <p:bg>
      <p:bgPr>
        <a:solidFill>
          <a:schemeClr val="bg1"/>
        </a:solidFill>
        <a:effectLst/>
      </p:bgPr>
    </p:bg>
    <p:spTree>
      <p:nvGrpSpPr>
        <p:cNvPr id="1" name=""/>
        <p:cNvGrpSpPr/>
        <p:nvPr/>
      </p:nvGrpSpPr>
      <p:grpSpPr>
        <a:xfrm>
          <a:off x="0" y="0"/>
          <a:ext cx="0" cy="0"/>
          <a:chOff x="0" y="0"/>
          <a:chExt cx="0" cy="0"/>
        </a:xfrm>
      </p:grpSpPr>
      <p:sp>
        <p:nvSpPr>
          <p:cNvPr id="4" name="Freeform 3"/>
          <p:cNvSpPr/>
          <p:nvPr userDrawn="1"/>
        </p:nvSpPr>
        <p:spPr>
          <a:xfrm>
            <a:off x="697775" y="3365500"/>
            <a:ext cx="2654300" cy="3543300"/>
          </a:xfrm>
          <a:custGeom>
            <a:avLst/>
            <a:gdLst>
              <a:gd name="connsiteX0" fmla="*/ 1314450 w 2654300"/>
              <a:gd name="connsiteY0" fmla="*/ 0 h 3543300"/>
              <a:gd name="connsiteX1" fmla="*/ 2654300 w 2654300"/>
              <a:gd name="connsiteY1" fmla="*/ 3543300 h 3543300"/>
              <a:gd name="connsiteX2" fmla="*/ 0 w 2654300"/>
              <a:gd name="connsiteY2" fmla="*/ 3543300 h 3543300"/>
              <a:gd name="connsiteX3" fmla="*/ 1314450 w 2654300"/>
              <a:gd name="connsiteY3" fmla="*/ 0 h 3543300"/>
            </a:gdLst>
            <a:ahLst/>
            <a:cxnLst>
              <a:cxn ang="0">
                <a:pos x="connsiteX0" y="connsiteY0"/>
              </a:cxn>
              <a:cxn ang="0">
                <a:pos x="connsiteX1" y="connsiteY1"/>
              </a:cxn>
              <a:cxn ang="0">
                <a:pos x="connsiteX2" y="connsiteY2"/>
              </a:cxn>
              <a:cxn ang="0">
                <a:pos x="connsiteX3" y="connsiteY3"/>
              </a:cxn>
            </a:cxnLst>
            <a:rect l="l" t="t" r="r" b="b"/>
            <a:pathLst>
              <a:path w="2654300" h="3543300">
                <a:moveTo>
                  <a:pt x="1314450" y="0"/>
                </a:moveTo>
                <a:lnTo>
                  <a:pt x="2654300" y="3543300"/>
                </a:lnTo>
                <a:lnTo>
                  <a:pt x="0" y="3543300"/>
                </a:lnTo>
                <a:lnTo>
                  <a:pt x="131445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8"/>
          <p:cNvSpPr>
            <a:spLocks noGrp="1"/>
          </p:cNvSpPr>
          <p:nvPr>
            <p:ph type="pic" sz="quarter" idx="13"/>
          </p:nvPr>
        </p:nvSpPr>
        <p:spPr>
          <a:xfrm>
            <a:off x="-63500" y="-58738"/>
            <a:ext cx="3462338" cy="6973888"/>
          </a:xfrm>
          <a:custGeom>
            <a:avLst/>
            <a:gdLst>
              <a:gd name="connsiteX0" fmla="*/ 0 w 3462338"/>
              <a:gd name="connsiteY0" fmla="*/ 0 h 6973888"/>
              <a:gd name="connsiteX1" fmla="*/ 3462338 w 3462338"/>
              <a:gd name="connsiteY1" fmla="*/ 0 h 6973888"/>
              <a:gd name="connsiteX2" fmla="*/ 3462338 w 3462338"/>
              <a:gd name="connsiteY2" fmla="*/ 6973888 h 6973888"/>
              <a:gd name="connsiteX3" fmla="*/ 0 w 3462338"/>
              <a:gd name="connsiteY3" fmla="*/ 6973888 h 6973888"/>
              <a:gd name="connsiteX4" fmla="*/ 0 w 3462338"/>
              <a:gd name="connsiteY4" fmla="*/ 0 h 6973888"/>
              <a:gd name="connsiteX0" fmla="*/ 0 w 3462338"/>
              <a:gd name="connsiteY0" fmla="*/ 0 h 6973888"/>
              <a:gd name="connsiteX1" fmla="*/ 3462338 w 3462338"/>
              <a:gd name="connsiteY1" fmla="*/ 0 h 6973888"/>
              <a:gd name="connsiteX2" fmla="*/ 3462338 w 3462338"/>
              <a:gd name="connsiteY2" fmla="*/ 6973888 h 6973888"/>
              <a:gd name="connsiteX3" fmla="*/ 825500 w 3462338"/>
              <a:gd name="connsiteY3" fmla="*/ 6967538 h 6973888"/>
              <a:gd name="connsiteX4" fmla="*/ 0 w 3462338"/>
              <a:gd name="connsiteY4" fmla="*/ 6973888 h 6973888"/>
              <a:gd name="connsiteX5" fmla="*/ 0 w 3462338"/>
              <a:gd name="connsiteY5" fmla="*/ 0 h 6973888"/>
              <a:gd name="connsiteX0" fmla="*/ 0 w 3462338"/>
              <a:gd name="connsiteY0" fmla="*/ 0 h 6973888"/>
              <a:gd name="connsiteX1" fmla="*/ 3462338 w 3462338"/>
              <a:gd name="connsiteY1" fmla="*/ 0 h 6973888"/>
              <a:gd name="connsiteX2" fmla="*/ 825500 w 3462338"/>
              <a:gd name="connsiteY2" fmla="*/ 6967538 h 6973888"/>
              <a:gd name="connsiteX3" fmla="*/ 0 w 3462338"/>
              <a:gd name="connsiteY3" fmla="*/ 6973888 h 6973888"/>
              <a:gd name="connsiteX4" fmla="*/ 0 w 3462338"/>
              <a:gd name="connsiteY4" fmla="*/ 0 h 6973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2338" h="6973888">
                <a:moveTo>
                  <a:pt x="0" y="0"/>
                </a:moveTo>
                <a:lnTo>
                  <a:pt x="3462338" y="0"/>
                </a:lnTo>
                <a:lnTo>
                  <a:pt x="825500" y="6967538"/>
                </a:lnTo>
                <a:lnTo>
                  <a:pt x="0" y="6973888"/>
                </a:lnTo>
                <a:lnTo>
                  <a:pt x="0" y="0"/>
                </a:lnTo>
                <a:close/>
              </a:path>
            </a:pathLst>
          </a:custGeom>
          <a:solidFill>
            <a:schemeClr val="bg1">
              <a:lumMod val="65000"/>
            </a:schemeClr>
          </a:solidFill>
        </p:spPr>
        <p:txBody>
          <a:bodyPr lIns="144000" tIns="3024000"/>
          <a:lstStyle>
            <a:lvl1pPr>
              <a:defRPr sz="1400" b="1">
                <a:solidFill>
                  <a:schemeClr val="bg1"/>
                </a:solidFill>
              </a:defRPr>
            </a:lvl1pPr>
          </a:lstStyle>
          <a:p>
            <a:endParaRPr lang="en-US"/>
          </a:p>
        </p:txBody>
      </p:sp>
      <p:sp>
        <p:nvSpPr>
          <p:cNvPr id="5" name="Parallelogram 4"/>
          <p:cNvSpPr/>
          <p:nvPr userDrawn="1"/>
        </p:nvSpPr>
        <p:spPr>
          <a:xfrm>
            <a:off x="3260725" y="1364891"/>
            <a:ext cx="720000" cy="60959"/>
          </a:xfrm>
          <a:prstGeom prst="parallelogram">
            <a:avLst>
              <a:gd name="adj" fmla="val 3799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Text Placeholder 2"/>
          <p:cNvSpPr>
            <a:spLocks noGrp="1"/>
          </p:cNvSpPr>
          <p:nvPr>
            <p:ph type="body" sz="quarter" idx="11"/>
          </p:nvPr>
        </p:nvSpPr>
        <p:spPr>
          <a:xfrm>
            <a:off x="3260725" y="1828800"/>
            <a:ext cx="5287962" cy="456035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260725" y="398977"/>
            <a:ext cx="5297488" cy="800867"/>
          </a:xfrm>
        </p:spPr>
        <p:txBody>
          <a:bodyPr/>
          <a:lstStyle/>
          <a:p>
            <a:r>
              <a:rPr lang="en-US" dirty="0"/>
              <a:t>Click to edit Master title style</a:t>
            </a:r>
          </a:p>
        </p:txBody>
      </p:sp>
    </p:spTree>
    <p:extLst>
      <p:ext uri="{BB962C8B-B14F-4D97-AF65-F5344CB8AC3E}">
        <p14:creationId xmlns:p14="http://schemas.microsoft.com/office/powerpoint/2010/main" val="2509340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Cover 3 - white">
    <p:bg>
      <p:bgPr>
        <a:solidFill>
          <a:schemeClr val="bg1"/>
        </a:solidFill>
        <a:effectLst/>
      </p:bgPr>
    </p:bg>
    <p:spTree>
      <p:nvGrpSpPr>
        <p:cNvPr id="1" name=""/>
        <p:cNvGrpSpPr/>
        <p:nvPr/>
      </p:nvGrpSpPr>
      <p:grpSpPr>
        <a:xfrm>
          <a:off x="0" y="0"/>
          <a:ext cx="0" cy="0"/>
          <a:chOff x="0" y="0"/>
          <a:chExt cx="0" cy="0"/>
        </a:xfrm>
      </p:grpSpPr>
      <p:sp>
        <p:nvSpPr>
          <p:cNvPr id="28" name="Text Placeholder 26"/>
          <p:cNvSpPr>
            <a:spLocks noGrp="1"/>
          </p:cNvSpPr>
          <p:nvPr>
            <p:ph type="body" sz="quarter" idx="11"/>
          </p:nvPr>
        </p:nvSpPr>
        <p:spPr>
          <a:xfrm>
            <a:off x="3483251" y="4240468"/>
            <a:ext cx="5064076" cy="677333"/>
          </a:xfrm>
          <a:prstGeom prst="rect">
            <a:avLst/>
          </a:prstGeom>
        </p:spPr>
        <p:txBody>
          <a:bodyPr lIns="0" tIns="0" rIns="0" bIns="0">
            <a:noAutofit/>
          </a:bodyPr>
          <a:lstStyle>
            <a:lvl1pPr>
              <a:spcBef>
                <a:spcPts val="0"/>
              </a:spcBef>
              <a:spcAft>
                <a:spcPts val="0"/>
              </a:spcAft>
              <a:defRPr sz="1000">
                <a:solidFill>
                  <a:schemeClr val="tx1"/>
                </a:solidFill>
              </a:defRPr>
            </a:lvl1pPr>
          </a:lstStyle>
          <a:p>
            <a:pPr lvl="0"/>
            <a:r>
              <a:rPr lang="en-US" dirty="0"/>
              <a:t>Click to edit Master text styles</a:t>
            </a:r>
          </a:p>
        </p:txBody>
      </p:sp>
      <p:sp>
        <p:nvSpPr>
          <p:cNvPr id="29" name="Title 28"/>
          <p:cNvSpPr>
            <a:spLocks noGrp="1"/>
          </p:cNvSpPr>
          <p:nvPr>
            <p:ph type="title"/>
          </p:nvPr>
        </p:nvSpPr>
        <p:spPr>
          <a:xfrm>
            <a:off x="3494363" y="1610919"/>
            <a:ext cx="5051150" cy="1711401"/>
          </a:xfrm>
        </p:spPr>
        <p:txBody>
          <a:bodyPr>
            <a:noAutofit/>
          </a:bodyPr>
          <a:lstStyle>
            <a:lvl1pPr>
              <a:lnSpc>
                <a:spcPts val="2800"/>
              </a:lnSpc>
              <a:defRPr sz="2800">
                <a:solidFill>
                  <a:schemeClr val="tx1"/>
                </a:solidFill>
              </a:defRPr>
            </a:lvl1pPr>
          </a:lstStyle>
          <a:p>
            <a:r>
              <a:rPr lang="en-US" dirty="0"/>
              <a:t>Click to edit Master title style</a:t>
            </a:r>
          </a:p>
        </p:txBody>
      </p:sp>
      <p:sp>
        <p:nvSpPr>
          <p:cNvPr id="33" name="Text Placeholder 32"/>
          <p:cNvSpPr>
            <a:spLocks noGrp="1"/>
          </p:cNvSpPr>
          <p:nvPr>
            <p:ph type="body" sz="quarter" idx="12"/>
          </p:nvPr>
        </p:nvSpPr>
        <p:spPr>
          <a:xfrm>
            <a:off x="3494362" y="3546203"/>
            <a:ext cx="5033427" cy="601133"/>
          </a:xfrm>
          <a:prstGeom prst="rect">
            <a:avLst/>
          </a:prstGeom>
        </p:spPr>
        <p:txBody>
          <a:bodyPr lIns="0" tIns="0" rIns="0" bIns="0">
            <a:noAutofit/>
          </a:bodyPr>
          <a:lstStyle>
            <a:lvl1pPr>
              <a:defRPr>
                <a:solidFill>
                  <a:schemeClr val="tx1"/>
                </a:solidFill>
              </a:defRPr>
            </a:lvl1pPr>
          </a:lstStyle>
          <a:p>
            <a:pPr lvl="0"/>
            <a:r>
              <a:rPr lang="en-US" dirty="0"/>
              <a:t>Click to edit Master text styles</a:t>
            </a:r>
          </a:p>
        </p:txBody>
      </p:sp>
      <p:sp>
        <p:nvSpPr>
          <p:cNvPr id="10" name="Date Placeholder 3"/>
          <p:cNvSpPr txBox="1">
            <a:spLocks/>
          </p:cNvSpPr>
          <p:nvPr userDrawn="1"/>
        </p:nvSpPr>
        <p:spPr>
          <a:xfrm>
            <a:off x="3514309" y="6248944"/>
            <a:ext cx="1269504" cy="216024"/>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900" dirty="0">
                <a:solidFill>
                  <a:schemeClr val="tx1"/>
                </a:solidFill>
                <a:latin typeface="Segoe UI" panose="020B0502040204020203" pitchFamily="34" charset="0"/>
                <a:ea typeface="Segoe UI" panose="020B0502040204020203" pitchFamily="34" charset="0"/>
                <a:cs typeface="Segoe UI" panose="020B0502040204020203" pitchFamily="34" charset="0"/>
              </a:rPr>
              <a:t>www.</a:t>
            </a:r>
            <a:r>
              <a:rPr lang="en-AU" sz="900" b="1" dirty="0">
                <a:solidFill>
                  <a:schemeClr val="tx1"/>
                </a:solidFill>
                <a:latin typeface="Segoe UI" panose="020B0502040204020203" pitchFamily="34" charset="0"/>
                <a:ea typeface="Segoe UI" panose="020B0502040204020203" pitchFamily="34" charset="0"/>
                <a:cs typeface="Segoe UI" panose="020B0502040204020203" pitchFamily="34" charset="0"/>
              </a:rPr>
              <a:t>advisian</a:t>
            </a:r>
            <a:r>
              <a:rPr lang="en-AU" sz="900" dirty="0">
                <a:solidFill>
                  <a:schemeClr val="tx1"/>
                </a:solidFill>
                <a:latin typeface="Segoe UI" panose="020B0502040204020203" pitchFamily="34" charset="0"/>
                <a:ea typeface="Segoe UI" panose="020B0502040204020203" pitchFamily="34" charset="0"/>
                <a:cs typeface="Segoe UI" panose="020B0502040204020203" pitchFamily="34" charset="0"/>
              </a:rPr>
              <a:t>.com</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365" y="5346848"/>
            <a:ext cx="1227613" cy="423269"/>
          </a:xfrm>
          <a:prstGeom prst="rect">
            <a:avLst/>
          </a:prstGeom>
          <a:noFill/>
          <a:ln>
            <a:noFill/>
          </a:ln>
        </p:spPr>
      </p:pic>
      <p:sp>
        <p:nvSpPr>
          <p:cNvPr id="5" name="Picture Placeholder 4"/>
          <p:cNvSpPr>
            <a:spLocks noGrp="1"/>
          </p:cNvSpPr>
          <p:nvPr>
            <p:ph type="pic" sz="quarter" idx="17"/>
          </p:nvPr>
        </p:nvSpPr>
        <p:spPr>
          <a:xfrm>
            <a:off x="-99060" y="-82550"/>
            <a:ext cx="4039870" cy="7056608"/>
          </a:xfrm>
          <a:custGeom>
            <a:avLst/>
            <a:gdLst>
              <a:gd name="connsiteX0" fmla="*/ 0 w 5271134"/>
              <a:gd name="connsiteY0" fmla="*/ 0 h 7000876"/>
              <a:gd name="connsiteX1" fmla="*/ 5271134 w 5271134"/>
              <a:gd name="connsiteY1" fmla="*/ 0 h 7000876"/>
              <a:gd name="connsiteX2" fmla="*/ 5271134 w 5271134"/>
              <a:gd name="connsiteY2" fmla="*/ 7000876 h 7000876"/>
              <a:gd name="connsiteX3" fmla="*/ 0 w 5271134"/>
              <a:gd name="connsiteY3" fmla="*/ 7000876 h 7000876"/>
              <a:gd name="connsiteX4" fmla="*/ 0 w 5271134"/>
              <a:gd name="connsiteY4" fmla="*/ 0 h 7000876"/>
              <a:gd name="connsiteX0" fmla="*/ 0 w 5271134"/>
              <a:gd name="connsiteY0" fmla="*/ 0 h 7002780"/>
              <a:gd name="connsiteX1" fmla="*/ 5271134 w 5271134"/>
              <a:gd name="connsiteY1" fmla="*/ 0 h 7002780"/>
              <a:gd name="connsiteX2" fmla="*/ 5271134 w 5271134"/>
              <a:gd name="connsiteY2" fmla="*/ 7000876 h 7002780"/>
              <a:gd name="connsiteX3" fmla="*/ 2619374 w 5271134"/>
              <a:gd name="connsiteY3" fmla="*/ 7002780 h 7002780"/>
              <a:gd name="connsiteX4" fmla="*/ 0 w 5271134"/>
              <a:gd name="connsiteY4" fmla="*/ 7000876 h 7002780"/>
              <a:gd name="connsiteX5" fmla="*/ 0 w 5271134"/>
              <a:gd name="connsiteY5" fmla="*/ 0 h 7002780"/>
              <a:gd name="connsiteX0" fmla="*/ 0 w 5271134"/>
              <a:gd name="connsiteY0" fmla="*/ 0 h 7002780"/>
              <a:gd name="connsiteX1" fmla="*/ 5271134 w 5271134"/>
              <a:gd name="connsiteY1" fmla="*/ 0 h 7002780"/>
              <a:gd name="connsiteX2" fmla="*/ 2619374 w 5271134"/>
              <a:gd name="connsiteY2" fmla="*/ 7002780 h 7002780"/>
              <a:gd name="connsiteX3" fmla="*/ 0 w 5271134"/>
              <a:gd name="connsiteY3" fmla="*/ 7000876 h 7002780"/>
              <a:gd name="connsiteX4" fmla="*/ 0 w 5271134"/>
              <a:gd name="connsiteY4" fmla="*/ 0 h 7002780"/>
              <a:gd name="connsiteX0" fmla="*/ 0 w 5271134"/>
              <a:gd name="connsiteY0" fmla="*/ 5862 h 7008642"/>
              <a:gd name="connsiteX1" fmla="*/ 3985601 w 5271134"/>
              <a:gd name="connsiteY1" fmla="*/ 0 h 7008642"/>
              <a:gd name="connsiteX2" fmla="*/ 5271134 w 5271134"/>
              <a:gd name="connsiteY2" fmla="*/ 5862 h 7008642"/>
              <a:gd name="connsiteX3" fmla="*/ 2619374 w 5271134"/>
              <a:gd name="connsiteY3" fmla="*/ 7008642 h 7008642"/>
              <a:gd name="connsiteX4" fmla="*/ 0 w 5271134"/>
              <a:gd name="connsiteY4" fmla="*/ 7006738 h 7008642"/>
              <a:gd name="connsiteX5" fmla="*/ 0 w 5271134"/>
              <a:gd name="connsiteY5" fmla="*/ 5862 h 7008642"/>
              <a:gd name="connsiteX0" fmla="*/ 0 w 5271134"/>
              <a:gd name="connsiteY0" fmla="*/ 5862 h 7008642"/>
              <a:gd name="connsiteX1" fmla="*/ 3921124 w 5271134"/>
              <a:gd name="connsiteY1" fmla="*/ 0 h 7008642"/>
              <a:gd name="connsiteX2" fmla="*/ 3985601 w 5271134"/>
              <a:gd name="connsiteY2" fmla="*/ 0 h 7008642"/>
              <a:gd name="connsiteX3" fmla="*/ 5271134 w 5271134"/>
              <a:gd name="connsiteY3" fmla="*/ 5862 h 7008642"/>
              <a:gd name="connsiteX4" fmla="*/ 2619374 w 5271134"/>
              <a:gd name="connsiteY4" fmla="*/ 7008642 h 7008642"/>
              <a:gd name="connsiteX5" fmla="*/ 0 w 5271134"/>
              <a:gd name="connsiteY5" fmla="*/ 7006738 h 7008642"/>
              <a:gd name="connsiteX6" fmla="*/ 0 w 5271134"/>
              <a:gd name="connsiteY6" fmla="*/ 5862 h 7008642"/>
              <a:gd name="connsiteX0" fmla="*/ 0 w 5271134"/>
              <a:gd name="connsiteY0" fmla="*/ 5862 h 7008642"/>
              <a:gd name="connsiteX1" fmla="*/ 3885405 w 5271134"/>
              <a:gd name="connsiteY1" fmla="*/ 1099 h 7008642"/>
              <a:gd name="connsiteX2" fmla="*/ 3921124 w 5271134"/>
              <a:gd name="connsiteY2" fmla="*/ 0 h 7008642"/>
              <a:gd name="connsiteX3" fmla="*/ 3985601 w 5271134"/>
              <a:gd name="connsiteY3" fmla="*/ 0 h 7008642"/>
              <a:gd name="connsiteX4" fmla="*/ 5271134 w 5271134"/>
              <a:gd name="connsiteY4" fmla="*/ 5862 h 7008642"/>
              <a:gd name="connsiteX5" fmla="*/ 2619374 w 5271134"/>
              <a:gd name="connsiteY5" fmla="*/ 7008642 h 7008642"/>
              <a:gd name="connsiteX6" fmla="*/ 0 w 5271134"/>
              <a:gd name="connsiteY6" fmla="*/ 7006738 h 7008642"/>
              <a:gd name="connsiteX7" fmla="*/ 0 w 5271134"/>
              <a:gd name="connsiteY7" fmla="*/ 5862 h 7008642"/>
              <a:gd name="connsiteX0" fmla="*/ 0 w 5271134"/>
              <a:gd name="connsiteY0" fmla="*/ 5862 h 7056120"/>
              <a:gd name="connsiteX1" fmla="*/ 3885405 w 5271134"/>
              <a:gd name="connsiteY1" fmla="*/ 1099 h 7056120"/>
              <a:gd name="connsiteX2" fmla="*/ 1299844 w 5271134"/>
              <a:gd name="connsiteY2" fmla="*/ 7056120 h 7056120"/>
              <a:gd name="connsiteX3" fmla="*/ 3985601 w 5271134"/>
              <a:gd name="connsiteY3" fmla="*/ 0 h 7056120"/>
              <a:gd name="connsiteX4" fmla="*/ 5271134 w 5271134"/>
              <a:gd name="connsiteY4" fmla="*/ 5862 h 7056120"/>
              <a:gd name="connsiteX5" fmla="*/ 2619374 w 5271134"/>
              <a:gd name="connsiteY5" fmla="*/ 7008642 h 7056120"/>
              <a:gd name="connsiteX6" fmla="*/ 0 w 5271134"/>
              <a:gd name="connsiteY6" fmla="*/ 7006738 h 7056120"/>
              <a:gd name="connsiteX7" fmla="*/ 0 w 5271134"/>
              <a:gd name="connsiteY7" fmla="*/ 5862 h 7056120"/>
              <a:gd name="connsiteX0" fmla="*/ 0 w 5271134"/>
              <a:gd name="connsiteY0" fmla="*/ 5862 h 7056120"/>
              <a:gd name="connsiteX1" fmla="*/ 3885405 w 5271134"/>
              <a:gd name="connsiteY1" fmla="*/ 1099 h 7056120"/>
              <a:gd name="connsiteX2" fmla="*/ 3799204 w 5271134"/>
              <a:gd name="connsiteY2" fmla="*/ 234462 h 7056120"/>
              <a:gd name="connsiteX3" fmla="*/ 1299844 w 5271134"/>
              <a:gd name="connsiteY3" fmla="*/ 7056120 h 7056120"/>
              <a:gd name="connsiteX4" fmla="*/ 3985601 w 5271134"/>
              <a:gd name="connsiteY4" fmla="*/ 0 h 7056120"/>
              <a:gd name="connsiteX5" fmla="*/ 5271134 w 5271134"/>
              <a:gd name="connsiteY5" fmla="*/ 5862 h 7056120"/>
              <a:gd name="connsiteX6" fmla="*/ 2619374 w 5271134"/>
              <a:gd name="connsiteY6" fmla="*/ 7008642 h 7056120"/>
              <a:gd name="connsiteX7" fmla="*/ 0 w 5271134"/>
              <a:gd name="connsiteY7" fmla="*/ 7006738 h 7056120"/>
              <a:gd name="connsiteX8" fmla="*/ 0 w 5271134"/>
              <a:gd name="connsiteY8" fmla="*/ 5862 h 7056120"/>
              <a:gd name="connsiteX0" fmla="*/ 0 w 5271134"/>
              <a:gd name="connsiteY0" fmla="*/ 5862 h 7056120"/>
              <a:gd name="connsiteX1" fmla="*/ 3885405 w 5271134"/>
              <a:gd name="connsiteY1" fmla="*/ 1099 h 7056120"/>
              <a:gd name="connsiteX2" fmla="*/ 1208404 w 5271134"/>
              <a:gd name="connsiteY2" fmla="*/ 7046742 h 7056120"/>
              <a:gd name="connsiteX3" fmla="*/ 1299844 w 5271134"/>
              <a:gd name="connsiteY3" fmla="*/ 7056120 h 7056120"/>
              <a:gd name="connsiteX4" fmla="*/ 3985601 w 5271134"/>
              <a:gd name="connsiteY4" fmla="*/ 0 h 7056120"/>
              <a:gd name="connsiteX5" fmla="*/ 5271134 w 5271134"/>
              <a:gd name="connsiteY5" fmla="*/ 5862 h 7056120"/>
              <a:gd name="connsiteX6" fmla="*/ 2619374 w 5271134"/>
              <a:gd name="connsiteY6" fmla="*/ 7008642 h 7056120"/>
              <a:gd name="connsiteX7" fmla="*/ 0 w 5271134"/>
              <a:gd name="connsiteY7" fmla="*/ 7006738 h 7056120"/>
              <a:gd name="connsiteX8" fmla="*/ 0 w 5271134"/>
              <a:gd name="connsiteY8" fmla="*/ 5862 h 7056120"/>
              <a:gd name="connsiteX0" fmla="*/ 0 w 5271134"/>
              <a:gd name="connsiteY0" fmla="*/ 5862 h 7056120"/>
              <a:gd name="connsiteX1" fmla="*/ 3908265 w 5271134"/>
              <a:gd name="connsiteY1" fmla="*/ 8719 h 7056120"/>
              <a:gd name="connsiteX2" fmla="*/ 1208404 w 5271134"/>
              <a:gd name="connsiteY2" fmla="*/ 7046742 h 7056120"/>
              <a:gd name="connsiteX3" fmla="*/ 1299844 w 5271134"/>
              <a:gd name="connsiteY3" fmla="*/ 7056120 h 7056120"/>
              <a:gd name="connsiteX4" fmla="*/ 3985601 w 5271134"/>
              <a:gd name="connsiteY4" fmla="*/ 0 h 7056120"/>
              <a:gd name="connsiteX5" fmla="*/ 5271134 w 5271134"/>
              <a:gd name="connsiteY5" fmla="*/ 5862 h 7056120"/>
              <a:gd name="connsiteX6" fmla="*/ 2619374 w 5271134"/>
              <a:gd name="connsiteY6" fmla="*/ 7008642 h 7056120"/>
              <a:gd name="connsiteX7" fmla="*/ 0 w 5271134"/>
              <a:gd name="connsiteY7" fmla="*/ 7006738 h 7056120"/>
              <a:gd name="connsiteX8" fmla="*/ 0 w 5271134"/>
              <a:gd name="connsiteY8" fmla="*/ 5862 h 7056120"/>
              <a:gd name="connsiteX0" fmla="*/ 0 w 5271134"/>
              <a:gd name="connsiteY0" fmla="*/ 5862 h 7056120"/>
              <a:gd name="connsiteX1" fmla="*/ 3908265 w 5271134"/>
              <a:gd name="connsiteY1" fmla="*/ 8719 h 7056120"/>
              <a:gd name="connsiteX2" fmla="*/ 1231264 w 5271134"/>
              <a:gd name="connsiteY2" fmla="*/ 7046742 h 7056120"/>
              <a:gd name="connsiteX3" fmla="*/ 1299844 w 5271134"/>
              <a:gd name="connsiteY3" fmla="*/ 7056120 h 7056120"/>
              <a:gd name="connsiteX4" fmla="*/ 3985601 w 5271134"/>
              <a:gd name="connsiteY4" fmla="*/ 0 h 7056120"/>
              <a:gd name="connsiteX5" fmla="*/ 5271134 w 5271134"/>
              <a:gd name="connsiteY5" fmla="*/ 5862 h 7056120"/>
              <a:gd name="connsiteX6" fmla="*/ 2619374 w 5271134"/>
              <a:gd name="connsiteY6" fmla="*/ 7008642 h 7056120"/>
              <a:gd name="connsiteX7" fmla="*/ 0 w 5271134"/>
              <a:gd name="connsiteY7" fmla="*/ 7006738 h 7056120"/>
              <a:gd name="connsiteX8" fmla="*/ 0 w 5271134"/>
              <a:gd name="connsiteY8" fmla="*/ 5862 h 7056120"/>
              <a:gd name="connsiteX0" fmla="*/ 0 w 5271134"/>
              <a:gd name="connsiteY0" fmla="*/ 6350 h 7056608"/>
              <a:gd name="connsiteX1" fmla="*/ 2670174 w 5271134"/>
              <a:gd name="connsiteY1" fmla="*/ 0 h 7056608"/>
              <a:gd name="connsiteX2" fmla="*/ 3908265 w 5271134"/>
              <a:gd name="connsiteY2" fmla="*/ 9207 h 7056608"/>
              <a:gd name="connsiteX3" fmla="*/ 1231264 w 5271134"/>
              <a:gd name="connsiteY3" fmla="*/ 7047230 h 7056608"/>
              <a:gd name="connsiteX4" fmla="*/ 1299844 w 5271134"/>
              <a:gd name="connsiteY4" fmla="*/ 7056608 h 7056608"/>
              <a:gd name="connsiteX5" fmla="*/ 3985601 w 5271134"/>
              <a:gd name="connsiteY5" fmla="*/ 488 h 7056608"/>
              <a:gd name="connsiteX6" fmla="*/ 5271134 w 5271134"/>
              <a:gd name="connsiteY6" fmla="*/ 6350 h 7056608"/>
              <a:gd name="connsiteX7" fmla="*/ 2619374 w 5271134"/>
              <a:gd name="connsiteY7" fmla="*/ 7009130 h 7056608"/>
              <a:gd name="connsiteX8" fmla="*/ 0 w 5271134"/>
              <a:gd name="connsiteY8" fmla="*/ 7007226 h 7056608"/>
              <a:gd name="connsiteX9" fmla="*/ 0 w 5271134"/>
              <a:gd name="connsiteY9" fmla="*/ 6350 h 7056608"/>
              <a:gd name="connsiteX0" fmla="*/ 0 w 5271134"/>
              <a:gd name="connsiteY0" fmla="*/ 6350 h 7056608"/>
              <a:gd name="connsiteX1" fmla="*/ 2581274 w 5271134"/>
              <a:gd name="connsiteY1" fmla="*/ 0 h 7056608"/>
              <a:gd name="connsiteX2" fmla="*/ 2670174 w 5271134"/>
              <a:gd name="connsiteY2" fmla="*/ 0 h 7056608"/>
              <a:gd name="connsiteX3" fmla="*/ 3908265 w 5271134"/>
              <a:gd name="connsiteY3" fmla="*/ 9207 h 7056608"/>
              <a:gd name="connsiteX4" fmla="*/ 1231264 w 5271134"/>
              <a:gd name="connsiteY4" fmla="*/ 7047230 h 7056608"/>
              <a:gd name="connsiteX5" fmla="*/ 1299844 w 5271134"/>
              <a:gd name="connsiteY5" fmla="*/ 7056608 h 7056608"/>
              <a:gd name="connsiteX6" fmla="*/ 3985601 w 5271134"/>
              <a:gd name="connsiteY6" fmla="*/ 488 h 7056608"/>
              <a:gd name="connsiteX7" fmla="*/ 5271134 w 5271134"/>
              <a:gd name="connsiteY7" fmla="*/ 6350 h 7056608"/>
              <a:gd name="connsiteX8" fmla="*/ 2619374 w 5271134"/>
              <a:gd name="connsiteY8" fmla="*/ 7009130 h 7056608"/>
              <a:gd name="connsiteX9" fmla="*/ 0 w 5271134"/>
              <a:gd name="connsiteY9" fmla="*/ 7007226 h 7056608"/>
              <a:gd name="connsiteX10" fmla="*/ 0 w 5271134"/>
              <a:gd name="connsiteY10" fmla="*/ 6350 h 7056608"/>
              <a:gd name="connsiteX0" fmla="*/ 1244600 w 5271134"/>
              <a:gd name="connsiteY0" fmla="*/ 6350 h 7056608"/>
              <a:gd name="connsiteX1" fmla="*/ 2581274 w 5271134"/>
              <a:gd name="connsiteY1" fmla="*/ 0 h 7056608"/>
              <a:gd name="connsiteX2" fmla="*/ 2670174 w 5271134"/>
              <a:gd name="connsiteY2" fmla="*/ 0 h 7056608"/>
              <a:gd name="connsiteX3" fmla="*/ 3908265 w 5271134"/>
              <a:gd name="connsiteY3" fmla="*/ 9207 h 7056608"/>
              <a:gd name="connsiteX4" fmla="*/ 1231264 w 5271134"/>
              <a:gd name="connsiteY4" fmla="*/ 7047230 h 7056608"/>
              <a:gd name="connsiteX5" fmla="*/ 1299844 w 5271134"/>
              <a:gd name="connsiteY5" fmla="*/ 7056608 h 7056608"/>
              <a:gd name="connsiteX6" fmla="*/ 3985601 w 5271134"/>
              <a:gd name="connsiteY6" fmla="*/ 488 h 7056608"/>
              <a:gd name="connsiteX7" fmla="*/ 5271134 w 5271134"/>
              <a:gd name="connsiteY7" fmla="*/ 6350 h 7056608"/>
              <a:gd name="connsiteX8" fmla="*/ 2619374 w 5271134"/>
              <a:gd name="connsiteY8" fmla="*/ 7009130 h 7056608"/>
              <a:gd name="connsiteX9" fmla="*/ 0 w 5271134"/>
              <a:gd name="connsiteY9" fmla="*/ 7007226 h 7056608"/>
              <a:gd name="connsiteX10" fmla="*/ 1244600 w 5271134"/>
              <a:gd name="connsiteY10" fmla="*/ 6350 h 7056608"/>
              <a:gd name="connsiteX0" fmla="*/ 13336 w 4039870"/>
              <a:gd name="connsiteY0" fmla="*/ 6350 h 7056608"/>
              <a:gd name="connsiteX1" fmla="*/ 1350010 w 4039870"/>
              <a:gd name="connsiteY1" fmla="*/ 0 h 7056608"/>
              <a:gd name="connsiteX2" fmla="*/ 1438910 w 4039870"/>
              <a:gd name="connsiteY2" fmla="*/ 0 h 7056608"/>
              <a:gd name="connsiteX3" fmla="*/ 2677001 w 4039870"/>
              <a:gd name="connsiteY3" fmla="*/ 9207 h 7056608"/>
              <a:gd name="connsiteX4" fmla="*/ 0 w 4039870"/>
              <a:gd name="connsiteY4" fmla="*/ 7047230 h 7056608"/>
              <a:gd name="connsiteX5" fmla="*/ 68580 w 4039870"/>
              <a:gd name="connsiteY5" fmla="*/ 7056608 h 7056608"/>
              <a:gd name="connsiteX6" fmla="*/ 2754337 w 4039870"/>
              <a:gd name="connsiteY6" fmla="*/ 488 h 7056608"/>
              <a:gd name="connsiteX7" fmla="*/ 4039870 w 4039870"/>
              <a:gd name="connsiteY7" fmla="*/ 6350 h 7056608"/>
              <a:gd name="connsiteX8" fmla="*/ 1388110 w 4039870"/>
              <a:gd name="connsiteY8" fmla="*/ 7009130 h 7056608"/>
              <a:gd name="connsiteX9" fmla="*/ 32386 w 4039870"/>
              <a:gd name="connsiteY9" fmla="*/ 7013576 h 7056608"/>
              <a:gd name="connsiteX10" fmla="*/ 13336 w 4039870"/>
              <a:gd name="connsiteY10" fmla="*/ 6350 h 7056608"/>
              <a:gd name="connsiteX0" fmla="*/ 13336 w 4039870"/>
              <a:gd name="connsiteY0" fmla="*/ 9525 h 7059783"/>
              <a:gd name="connsiteX1" fmla="*/ 1350010 w 4039870"/>
              <a:gd name="connsiteY1" fmla="*/ 3175 h 7059783"/>
              <a:gd name="connsiteX2" fmla="*/ 1400810 w 4039870"/>
              <a:gd name="connsiteY2" fmla="*/ 0 h 7059783"/>
              <a:gd name="connsiteX3" fmla="*/ 1438910 w 4039870"/>
              <a:gd name="connsiteY3" fmla="*/ 3175 h 7059783"/>
              <a:gd name="connsiteX4" fmla="*/ 2677001 w 4039870"/>
              <a:gd name="connsiteY4" fmla="*/ 12382 h 7059783"/>
              <a:gd name="connsiteX5" fmla="*/ 0 w 4039870"/>
              <a:gd name="connsiteY5" fmla="*/ 7050405 h 7059783"/>
              <a:gd name="connsiteX6" fmla="*/ 68580 w 4039870"/>
              <a:gd name="connsiteY6" fmla="*/ 7059783 h 7059783"/>
              <a:gd name="connsiteX7" fmla="*/ 2754337 w 4039870"/>
              <a:gd name="connsiteY7" fmla="*/ 3663 h 7059783"/>
              <a:gd name="connsiteX8" fmla="*/ 4039870 w 4039870"/>
              <a:gd name="connsiteY8" fmla="*/ 9525 h 7059783"/>
              <a:gd name="connsiteX9" fmla="*/ 1388110 w 4039870"/>
              <a:gd name="connsiteY9" fmla="*/ 7012305 h 7059783"/>
              <a:gd name="connsiteX10" fmla="*/ 32386 w 4039870"/>
              <a:gd name="connsiteY10" fmla="*/ 7016751 h 7059783"/>
              <a:gd name="connsiteX11" fmla="*/ 13336 w 4039870"/>
              <a:gd name="connsiteY11" fmla="*/ 9525 h 7059783"/>
              <a:gd name="connsiteX0" fmla="*/ 13336 w 4039870"/>
              <a:gd name="connsiteY0" fmla="*/ 6350 h 7056608"/>
              <a:gd name="connsiteX1" fmla="*/ 1350010 w 4039870"/>
              <a:gd name="connsiteY1" fmla="*/ 0 h 7056608"/>
              <a:gd name="connsiteX2" fmla="*/ 19685 w 4039870"/>
              <a:gd name="connsiteY2" fmla="*/ 3749675 h 7056608"/>
              <a:gd name="connsiteX3" fmla="*/ 1438910 w 4039870"/>
              <a:gd name="connsiteY3" fmla="*/ 0 h 7056608"/>
              <a:gd name="connsiteX4" fmla="*/ 2677001 w 4039870"/>
              <a:gd name="connsiteY4" fmla="*/ 9207 h 7056608"/>
              <a:gd name="connsiteX5" fmla="*/ 0 w 4039870"/>
              <a:gd name="connsiteY5" fmla="*/ 7047230 h 7056608"/>
              <a:gd name="connsiteX6" fmla="*/ 68580 w 4039870"/>
              <a:gd name="connsiteY6" fmla="*/ 7056608 h 7056608"/>
              <a:gd name="connsiteX7" fmla="*/ 2754337 w 4039870"/>
              <a:gd name="connsiteY7" fmla="*/ 488 h 7056608"/>
              <a:gd name="connsiteX8" fmla="*/ 4039870 w 4039870"/>
              <a:gd name="connsiteY8" fmla="*/ 6350 h 7056608"/>
              <a:gd name="connsiteX9" fmla="*/ 1388110 w 4039870"/>
              <a:gd name="connsiteY9" fmla="*/ 7009130 h 7056608"/>
              <a:gd name="connsiteX10" fmla="*/ 32386 w 4039870"/>
              <a:gd name="connsiteY10" fmla="*/ 7013576 h 7056608"/>
              <a:gd name="connsiteX11" fmla="*/ 13336 w 4039870"/>
              <a:gd name="connsiteY11" fmla="*/ 6350 h 7056608"/>
              <a:gd name="connsiteX0" fmla="*/ 13336 w 4039870"/>
              <a:gd name="connsiteY0" fmla="*/ 6350 h 7056608"/>
              <a:gd name="connsiteX1" fmla="*/ 1369060 w 4039870"/>
              <a:gd name="connsiteY1" fmla="*/ 0 h 7056608"/>
              <a:gd name="connsiteX2" fmla="*/ 19685 w 4039870"/>
              <a:gd name="connsiteY2" fmla="*/ 3749675 h 7056608"/>
              <a:gd name="connsiteX3" fmla="*/ 1438910 w 4039870"/>
              <a:gd name="connsiteY3" fmla="*/ 0 h 7056608"/>
              <a:gd name="connsiteX4" fmla="*/ 2677001 w 4039870"/>
              <a:gd name="connsiteY4" fmla="*/ 9207 h 7056608"/>
              <a:gd name="connsiteX5" fmla="*/ 0 w 4039870"/>
              <a:gd name="connsiteY5" fmla="*/ 7047230 h 7056608"/>
              <a:gd name="connsiteX6" fmla="*/ 68580 w 4039870"/>
              <a:gd name="connsiteY6" fmla="*/ 7056608 h 7056608"/>
              <a:gd name="connsiteX7" fmla="*/ 2754337 w 4039870"/>
              <a:gd name="connsiteY7" fmla="*/ 488 h 7056608"/>
              <a:gd name="connsiteX8" fmla="*/ 4039870 w 4039870"/>
              <a:gd name="connsiteY8" fmla="*/ 6350 h 7056608"/>
              <a:gd name="connsiteX9" fmla="*/ 1388110 w 4039870"/>
              <a:gd name="connsiteY9" fmla="*/ 7009130 h 7056608"/>
              <a:gd name="connsiteX10" fmla="*/ 32386 w 4039870"/>
              <a:gd name="connsiteY10" fmla="*/ 7013576 h 7056608"/>
              <a:gd name="connsiteX11" fmla="*/ 13336 w 4039870"/>
              <a:gd name="connsiteY11" fmla="*/ 6350 h 7056608"/>
              <a:gd name="connsiteX0" fmla="*/ 13336 w 4039870"/>
              <a:gd name="connsiteY0" fmla="*/ 6350 h 7056608"/>
              <a:gd name="connsiteX1" fmla="*/ 1369060 w 4039870"/>
              <a:gd name="connsiteY1" fmla="*/ 0 h 7056608"/>
              <a:gd name="connsiteX2" fmla="*/ 807085 w 4039870"/>
              <a:gd name="connsiteY2" fmla="*/ 1568450 h 7056608"/>
              <a:gd name="connsiteX3" fmla="*/ 19685 w 4039870"/>
              <a:gd name="connsiteY3" fmla="*/ 3749675 h 7056608"/>
              <a:gd name="connsiteX4" fmla="*/ 1438910 w 4039870"/>
              <a:gd name="connsiteY4" fmla="*/ 0 h 7056608"/>
              <a:gd name="connsiteX5" fmla="*/ 2677001 w 4039870"/>
              <a:gd name="connsiteY5" fmla="*/ 9207 h 7056608"/>
              <a:gd name="connsiteX6" fmla="*/ 0 w 4039870"/>
              <a:gd name="connsiteY6" fmla="*/ 7047230 h 7056608"/>
              <a:gd name="connsiteX7" fmla="*/ 68580 w 4039870"/>
              <a:gd name="connsiteY7" fmla="*/ 7056608 h 7056608"/>
              <a:gd name="connsiteX8" fmla="*/ 2754337 w 4039870"/>
              <a:gd name="connsiteY8" fmla="*/ 488 h 7056608"/>
              <a:gd name="connsiteX9" fmla="*/ 4039870 w 4039870"/>
              <a:gd name="connsiteY9" fmla="*/ 6350 h 7056608"/>
              <a:gd name="connsiteX10" fmla="*/ 1388110 w 4039870"/>
              <a:gd name="connsiteY10" fmla="*/ 7009130 h 7056608"/>
              <a:gd name="connsiteX11" fmla="*/ 32386 w 4039870"/>
              <a:gd name="connsiteY11" fmla="*/ 7013576 h 7056608"/>
              <a:gd name="connsiteX12" fmla="*/ 13336 w 4039870"/>
              <a:gd name="connsiteY12" fmla="*/ 6350 h 7056608"/>
              <a:gd name="connsiteX0" fmla="*/ 13336 w 4039870"/>
              <a:gd name="connsiteY0" fmla="*/ 6350 h 7056608"/>
              <a:gd name="connsiteX1" fmla="*/ 1369060 w 4039870"/>
              <a:gd name="connsiteY1" fmla="*/ 0 h 7056608"/>
              <a:gd name="connsiteX2" fmla="*/ 22860 w 4039870"/>
              <a:gd name="connsiteY2" fmla="*/ 3540125 h 7056608"/>
              <a:gd name="connsiteX3" fmla="*/ 19685 w 4039870"/>
              <a:gd name="connsiteY3" fmla="*/ 3749675 h 7056608"/>
              <a:gd name="connsiteX4" fmla="*/ 1438910 w 4039870"/>
              <a:gd name="connsiteY4" fmla="*/ 0 h 7056608"/>
              <a:gd name="connsiteX5" fmla="*/ 2677001 w 4039870"/>
              <a:gd name="connsiteY5" fmla="*/ 9207 h 7056608"/>
              <a:gd name="connsiteX6" fmla="*/ 0 w 4039870"/>
              <a:gd name="connsiteY6" fmla="*/ 7047230 h 7056608"/>
              <a:gd name="connsiteX7" fmla="*/ 68580 w 4039870"/>
              <a:gd name="connsiteY7" fmla="*/ 7056608 h 7056608"/>
              <a:gd name="connsiteX8" fmla="*/ 2754337 w 4039870"/>
              <a:gd name="connsiteY8" fmla="*/ 488 h 7056608"/>
              <a:gd name="connsiteX9" fmla="*/ 4039870 w 4039870"/>
              <a:gd name="connsiteY9" fmla="*/ 6350 h 7056608"/>
              <a:gd name="connsiteX10" fmla="*/ 1388110 w 4039870"/>
              <a:gd name="connsiteY10" fmla="*/ 7009130 h 7056608"/>
              <a:gd name="connsiteX11" fmla="*/ 32386 w 4039870"/>
              <a:gd name="connsiteY11" fmla="*/ 7013576 h 7056608"/>
              <a:gd name="connsiteX12" fmla="*/ 13336 w 4039870"/>
              <a:gd name="connsiteY12" fmla="*/ 6350 h 7056608"/>
              <a:gd name="connsiteX0" fmla="*/ 13336 w 4039870"/>
              <a:gd name="connsiteY0" fmla="*/ 6350 h 7056608"/>
              <a:gd name="connsiteX1" fmla="*/ 1369060 w 4039870"/>
              <a:gd name="connsiteY1" fmla="*/ 0 h 7056608"/>
              <a:gd name="connsiteX2" fmla="*/ 19685 w 4039870"/>
              <a:gd name="connsiteY2" fmla="*/ 3556000 h 7056608"/>
              <a:gd name="connsiteX3" fmla="*/ 19685 w 4039870"/>
              <a:gd name="connsiteY3" fmla="*/ 3749675 h 7056608"/>
              <a:gd name="connsiteX4" fmla="*/ 1438910 w 4039870"/>
              <a:gd name="connsiteY4" fmla="*/ 0 h 7056608"/>
              <a:gd name="connsiteX5" fmla="*/ 2677001 w 4039870"/>
              <a:gd name="connsiteY5" fmla="*/ 9207 h 7056608"/>
              <a:gd name="connsiteX6" fmla="*/ 0 w 4039870"/>
              <a:gd name="connsiteY6" fmla="*/ 7047230 h 7056608"/>
              <a:gd name="connsiteX7" fmla="*/ 68580 w 4039870"/>
              <a:gd name="connsiteY7" fmla="*/ 7056608 h 7056608"/>
              <a:gd name="connsiteX8" fmla="*/ 2754337 w 4039870"/>
              <a:gd name="connsiteY8" fmla="*/ 488 h 7056608"/>
              <a:gd name="connsiteX9" fmla="*/ 4039870 w 4039870"/>
              <a:gd name="connsiteY9" fmla="*/ 6350 h 7056608"/>
              <a:gd name="connsiteX10" fmla="*/ 1388110 w 4039870"/>
              <a:gd name="connsiteY10" fmla="*/ 7009130 h 7056608"/>
              <a:gd name="connsiteX11" fmla="*/ 32386 w 4039870"/>
              <a:gd name="connsiteY11" fmla="*/ 7013576 h 7056608"/>
              <a:gd name="connsiteX12" fmla="*/ 13336 w 4039870"/>
              <a:gd name="connsiteY12" fmla="*/ 6350 h 7056608"/>
              <a:gd name="connsiteX0" fmla="*/ 13336 w 4039870"/>
              <a:gd name="connsiteY0" fmla="*/ 6350 h 7056608"/>
              <a:gd name="connsiteX1" fmla="*/ 1369060 w 4039870"/>
              <a:gd name="connsiteY1" fmla="*/ 0 h 7056608"/>
              <a:gd name="connsiteX2" fmla="*/ 19685 w 4039870"/>
              <a:gd name="connsiteY2" fmla="*/ 3568700 h 7056608"/>
              <a:gd name="connsiteX3" fmla="*/ 19685 w 4039870"/>
              <a:gd name="connsiteY3" fmla="*/ 3749675 h 7056608"/>
              <a:gd name="connsiteX4" fmla="*/ 1438910 w 4039870"/>
              <a:gd name="connsiteY4" fmla="*/ 0 h 7056608"/>
              <a:gd name="connsiteX5" fmla="*/ 2677001 w 4039870"/>
              <a:gd name="connsiteY5" fmla="*/ 9207 h 7056608"/>
              <a:gd name="connsiteX6" fmla="*/ 0 w 4039870"/>
              <a:gd name="connsiteY6" fmla="*/ 7047230 h 7056608"/>
              <a:gd name="connsiteX7" fmla="*/ 68580 w 4039870"/>
              <a:gd name="connsiteY7" fmla="*/ 7056608 h 7056608"/>
              <a:gd name="connsiteX8" fmla="*/ 2754337 w 4039870"/>
              <a:gd name="connsiteY8" fmla="*/ 488 h 7056608"/>
              <a:gd name="connsiteX9" fmla="*/ 4039870 w 4039870"/>
              <a:gd name="connsiteY9" fmla="*/ 6350 h 7056608"/>
              <a:gd name="connsiteX10" fmla="*/ 1388110 w 4039870"/>
              <a:gd name="connsiteY10" fmla="*/ 7009130 h 7056608"/>
              <a:gd name="connsiteX11" fmla="*/ 32386 w 4039870"/>
              <a:gd name="connsiteY11" fmla="*/ 7013576 h 7056608"/>
              <a:gd name="connsiteX12" fmla="*/ 13336 w 4039870"/>
              <a:gd name="connsiteY12" fmla="*/ 6350 h 705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39870" h="7056608">
                <a:moveTo>
                  <a:pt x="13336" y="6350"/>
                </a:moveTo>
                <a:lnTo>
                  <a:pt x="1369060" y="0"/>
                </a:lnTo>
                <a:lnTo>
                  <a:pt x="19685" y="3568700"/>
                </a:lnTo>
                <a:cubicBezTo>
                  <a:pt x="18627" y="3638550"/>
                  <a:pt x="20743" y="3679825"/>
                  <a:pt x="19685" y="3749675"/>
                </a:cubicBezTo>
                <a:lnTo>
                  <a:pt x="1438910" y="0"/>
                </a:lnTo>
                <a:lnTo>
                  <a:pt x="2677001" y="9207"/>
                </a:lnTo>
                <a:lnTo>
                  <a:pt x="0" y="7047230"/>
                </a:lnTo>
                <a:lnTo>
                  <a:pt x="68580" y="7056608"/>
                </a:lnTo>
                <a:lnTo>
                  <a:pt x="2754337" y="488"/>
                </a:lnTo>
                <a:lnTo>
                  <a:pt x="4039870" y="6350"/>
                </a:lnTo>
                <a:lnTo>
                  <a:pt x="1388110" y="7009130"/>
                </a:lnTo>
                <a:lnTo>
                  <a:pt x="32386" y="7013576"/>
                </a:lnTo>
                <a:lnTo>
                  <a:pt x="13336" y="6350"/>
                </a:lnTo>
                <a:close/>
              </a:path>
            </a:pathLst>
          </a:custGeom>
          <a:solidFill>
            <a:schemeClr val="bg1">
              <a:lumMod val="65000"/>
            </a:schemeClr>
          </a:solidFill>
        </p:spPr>
        <p:txBody>
          <a:bodyPr lIns="576000" tIns="3348000"/>
          <a:lstStyle>
            <a:lvl1pPr>
              <a:defRPr sz="1200" b="1">
                <a:solidFill>
                  <a:schemeClr val="bg1"/>
                </a:solidFill>
              </a:defRPr>
            </a:lvl1pPr>
          </a:lstStyle>
          <a:p>
            <a:endParaRPr lang="en-US"/>
          </a:p>
        </p:txBody>
      </p:sp>
      <p:sp>
        <p:nvSpPr>
          <p:cNvPr id="7" name="Picture Placeholder 6"/>
          <p:cNvSpPr>
            <a:spLocks noGrp="1"/>
          </p:cNvSpPr>
          <p:nvPr>
            <p:ph type="pic" sz="quarter" idx="18" hasCustomPrompt="1"/>
          </p:nvPr>
        </p:nvSpPr>
        <p:spPr>
          <a:xfrm>
            <a:off x="7148513" y="5314007"/>
            <a:ext cx="1397000" cy="488950"/>
          </a:xfrm>
        </p:spPr>
        <p:txBody>
          <a:bodyPr/>
          <a:lstStyle>
            <a:lvl1pPr algn="ctr">
              <a:defRPr sz="800" b="1"/>
            </a:lvl1pPr>
          </a:lstStyle>
          <a:p>
            <a:r>
              <a:rPr lang="en-AU" dirty="0"/>
              <a:t>Client logo</a:t>
            </a:r>
            <a:endParaRPr lang="en-US" dirty="0"/>
          </a:p>
        </p:txBody>
      </p:sp>
    </p:spTree>
    <p:extLst>
      <p:ext uri="{BB962C8B-B14F-4D97-AF65-F5344CB8AC3E}">
        <p14:creationId xmlns:p14="http://schemas.microsoft.com/office/powerpoint/2010/main" val="2281075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ver 4 - white">
    <p:bg>
      <p:bgPr>
        <a:solidFill>
          <a:schemeClr val="bg1"/>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hasCustomPrompt="1"/>
          </p:nvPr>
        </p:nvSpPr>
        <p:spPr>
          <a:xfrm>
            <a:off x="-74933" y="-76200"/>
            <a:ext cx="4618358" cy="6979468"/>
          </a:xfrm>
          <a:custGeom>
            <a:avLst/>
            <a:gdLst>
              <a:gd name="connsiteX0" fmla="*/ 0 w 4618144"/>
              <a:gd name="connsiteY0" fmla="*/ 0 h 6965950"/>
              <a:gd name="connsiteX1" fmla="*/ 4618144 w 4618144"/>
              <a:gd name="connsiteY1" fmla="*/ 0 h 6965950"/>
              <a:gd name="connsiteX2" fmla="*/ 4618144 w 4618144"/>
              <a:gd name="connsiteY2" fmla="*/ 6965950 h 6965950"/>
              <a:gd name="connsiteX3" fmla="*/ 0 w 4618144"/>
              <a:gd name="connsiteY3" fmla="*/ 6965950 h 6965950"/>
              <a:gd name="connsiteX4" fmla="*/ 0 w 4618144"/>
              <a:gd name="connsiteY4" fmla="*/ 0 h 6965950"/>
              <a:gd name="connsiteX0" fmla="*/ 0 w 4618144"/>
              <a:gd name="connsiteY0" fmla="*/ 6350 h 6972300"/>
              <a:gd name="connsiteX1" fmla="*/ 1954319 w 4618144"/>
              <a:gd name="connsiteY1" fmla="*/ 0 h 6972300"/>
              <a:gd name="connsiteX2" fmla="*/ 4618144 w 4618144"/>
              <a:gd name="connsiteY2" fmla="*/ 6350 h 6972300"/>
              <a:gd name="connsiteX3" fmla="*/ 4618144 w 4618144"/>
              <a:gd name="connsiteY3" fmla="*/ 6972300 h 6972300"/>
              <a:gd name="connsiteX4" fmla="*/ 0 w 4618144"/>
              <a:gd name="connsiteY4" fmla="*/ 6972300 h 6972300"/>
              <a:gd name="connsiteX5" fmla="*/ 0 w 4618144"/>
              <a:gd name="connsiteY5" fmla="*/ 6350 h 6972300"/>
              <a:gd name="connsiteX0" fmla="*/ 0 w 4618144"/>
              <a:gd name="connsiteY0" fmla="*/ 6350 h 6972300"/>
              <a:gd name="connsiteX1" fmla="*/ 716069 w 4618144"/>
              <a:gd name="connsiteY1" fmla="*/ 0 h 6972300"/>
              <a:gd name="connsiteX2" fmla="*/ 1954319 w 4618144"/>
              <a:gd name="connsiteY2" fmla="*/ 0 h 6972300"/>
              <a:gd name="connsiteX3" fmla="*/ 4618144 w 4618144"/>
              <a:gd name="connsiteY3" fmla="*/ 6350 h 6972300"/>
              <a:gd name="connsiteX4" fmla="*/ 4618144 w 4618144"/>
              <a:gd name="connsiteY4" fmla="*/ 6972300 h 6972300"/>
              <a:gd name="connsiteX5" fmla="*/ 0 w 4618144"/>
              <a:gd name="connsiteY5" fmla="*/ 6972300 h 6972300"/>
              <a:gd name="connsiteX6" fmla="*/ 0 w 4618144"/>
              <a:gd name="connsiteY6" fmla="*/ 6350 h 6972300"/>
              <a:gd name="connsiteX0" fmla="*/ 0 w 4618144"/>
              <a:gd name="connsiteY0" fmla="*/ 6350 h 6972300"/>
              <a:gd name="connsiteX1" fmla="*/ 620819 w 4618144"/>
              <a:gd name="connsiteY1" fmla="*/ 0 h 6972300"/>
              <a:gd name="connsiteX2" fmla="*/ 716069 w 4618144"/>
              <a:gd name="connsiteY2" fmla="*/ 0 h 6972300"/>
              <a:gd name="connsiteX3" fmla="*/ 1954319 w 4618144"/>
              <a:gd name="connsiteY3" fmla="*/ 0 h 6972300"/>
              <a:gd name="connsiteX4" fmla="*/ 4618144 w 4618144"/>
              <a:gd name="connsiteY4" fmla="*/ 6350 h 6972300"/>
              <a:gd name="connsiteX5" fmla="*/ 4618144 w 4618144"/>
              <a:gd name="connsiteY5" fmla="*/ 6972300 h 6972300"/>
              <a:gd name="connsiteX6" fmla="*/ 0 w 4618144"/>
              <a:gd name="connsiteY6" fmla="*/ 6972300 h 6972300"/>
              <a:gd name="connsiteX7" fmla="*/ 0 w 4618144"/>
              <a:gd name="connsiteY7" fmla="*/ 6350 h 6972300"/>
              <a:gd name="connsiteX0" fmla="*/ 7831 w 4625975"/>
              <a:gd name="connsiteY0" fmla="*/ 6350 h 6972300"/>
              <a:gd name="connsiteX1" fmla="*/ 628650 w 4625975"/>
              <a:gd name="connsiteY1" fmla="*/ 0 h 6972300"/>
              <a:gd name="connsiteX2" fmla="*/ 723900 w 4625975"/>
              <a:gd name="connsiteY2" fmla="*/ 0 h 6972300"/>
              <a:gd name="connsiteX3" fmla="*/ 1962150 w 4625975"/>
              <a:gd name="connsiteY3" fmla="*/ 0 h 6972300"/>
              <a:gd name="connsiteX4" fmla="*/ 4625975 w 4625975"/>
              <a:gd name="connsiteY4" fmla="*/ 6350 h 6972300"/>
              <a:gd name="connsiteX5" fmla="*/ 4625975 w 4625975"/>
              <a:gd name="connsiteY5" fmla="*/ 6972300 h 6972300"/>
              <a:gd name="connsiteX6" fmla="*/ 7831 w 4625975"/>
              <a:gd name="connsiteY6" fmla="*/ 6972300 h 6972300"/>
              <a:gd name="connsiteX7" fmla="*/ 0 w 4625975"/>
              <a:gd name="connsiteY7" fmla="*/ 1625600 h 6972300"/>
              <a:gd name="connsiteX8" fmla="*/ 7831 w 4625975"/>
              <a:gd name="connsiteY8"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46555 w 4964699"/>
              <a:gd name="connsiteY6" fmla="*/ 6972300 h 6972300"/>
              <a:gd name="connsiteX7" fmla="*/ 332375 w 4964699"/>
              <a:gd name="connsiteY7" fmla="*/ 1841500 h 6972300"/>
              <a:gd name="connsiteX8" fmla="*/ 338724 w 4964699"/>
              <a:gd name="connsiteY8" fmla="*/ 1625600 h 6972300"/>
              <a:gd name="connsiteX9" fmla="*/ 346555 w 4964699"/>
              <a:gd name="connsiteY9"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2288175 w 4964699"/>
              <a:gd name="connsiteY6" fmla="*/ 6965950 h 6972300"/>
              <a:gd name="connsiteX7" fmla="*/ 346555 w 4964699"/>
              <a:gd name="connsiteY7" fmla="*/ 6972300 h 6972300"/>
              <a:gd name="connsiteX8" fmla="*/ 332375 w 4964699"/>
              <a:gd name="connsiteY8" fmla="*/ 1841500 h 6972300"/>
              <a:gd name="connsiteX9" fmla="*/ 338724 w 4964699"/>
              <a:gd name="connsiteY9" fmla="*/ 1625600 h 6972300"/>
              <a:gd name="connsiteX10" fmla="*/ 346555 w 4964699"/>
              <a:gd name="connsiteY10"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2389775 w 4964699"/>
              <a:gd name="connsiteY6" fmla="*/ 6959600 h 6972300"/>
              <a:gd name="connsiteX7" fmla="*/ 2288175 w 4964699"/>
              <a:gd name="connsiteY7" fmla="*/ 6965950 h 6972300"/>
              <a:gd name="connsiteX8" fmla="*/ 346555 w 4964699"/>
              <a:gd name="connsiteY8" fmla="*/ 6972300 h 6972300"/>
              <a:gd name="connsiteX9" fmla="*/ 332375 w 4964699"/>
              <a:gd name="connsiteY9" fmla="*/ 1841500 h 6972300"/>
              <a:gd name="connsiteX10" fmla="*/ 338724 w 4964699"/>
              <a:gd name="connsiteY10" fmla="*/ 1625600 h 6972300"/>
              <a:gd name="connsiteX11" fmla="*/ 346555 w 4964699"/>
              <a:gd name="connsiteY11"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615325 w 4964699"/>
              <a:gd name="connsiteY6" fmla="*/ 6959600 h 6972300"/>
              <a:gd name="connsiteX7" fmla="*/ 2389775 w 4964699"/>
              <a:gd name="connsiteY7" fmla="*/ 6959600 h 6972300"/>
              <a:gd name="connsiteX8" fmla="*/ 2288175 w 4964699"/>
              <a:gd name="connsiteY8" fmla="*/ 6965950 h 6972300"/>
              <a:gd name="connsiteX9" fmla="*/ 346555 w 4964699"/>
              <a:gd name="connsiteY9" fmla="*/ 6972300 h 6972300"/>
              <a:gd name="connsiteX10" fmla="*/ 332375 w 4964699"/>
              <a:gd name="connsiteY10" fmla="*/ 1841500 h 6972300"/>
              <a:gd name="connsiteX11" fmla="*/ 338724 w 4964699"/>
              <a:gd name="connsiteY11" fmla="*/ 1625600 h 6972300"/>
              <a:gd name="connsiteX12" fmla="*/ 346555 w 4964699"/>
              <a:gd name="connsiteY12"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704225 w 4964699"/>
              <a:gd name="connsiteY6" fmla="*/ 6959600 h 6972300"/>
              <a:gd name="connsiteX7" fmla="*/ 3615325 w 4964699"/>
              <a:gd name="connsiteY7" fmla="*/ 6959600 h 6972300"/>
              <a:gd name="connsiteX8" fmla="*/ 2389775 w 4964699"/>
              <a:gd name="connsiteY8" fmla="*/ 6959600 h 6972300"/>
              <a:gd name="connsiteX9" fmla="*/ 2288175 w 4964699"/>
              <a:gd name="connsiteY9" fmla="*/ 6965950 h 6972300"/>
              <a:gd name="connsiteX10" fmla="*/ 346555 w 4964699"/>
              <a:gd name="connsiteY10" fmla="*/ 6972300 h 6972300"/>
              <a:gd name="connsiteX11" fmla="*/ 332375 w 4964699"/>
              <a:gd name="connsiteY11" fmla="*/ 1841500 h 6972300"/>
              <a:gd name="connsiteX12" fmla="*/ 338724 w 4964699"/>
              <a:gd name="connsiteY12" fmla="*/ 1625600 h 6972300"/>
              <a:gd name="connsiteX13" fmla="*/ 346555 w 4964699"/>
              <a:gd name="connsiteY13" fmla="*/ 6350 h 6972300"/>
              <a:gd name="connsiteX0" fmla="*/ 346555 w 4964699"/>
              <a:gd name="connsiteY0" fmla="*/ 11113 h 6977063"/>
              <a:gd name="connsiteX1" fmla="*/ 967374 w 4964699"/>
              <a:gd name="connsiteY1" fmla="*/ 4763 h 6977063"/>
              <a:gd name="connsiteX2" fmla="*/ 1026113 w 4964699"/>
              <a:gd name="connsiteY2" fmla="*/ 0 h 6977063"/>
              <a:gd name="connsiteX3" fmla="*/ 1062624 w 4964699"/>
              <a:gd name="connsiteY3" fmla="*/ 4763 h 6977063"/>
              <a:gd name="connsiteX4" fmla="*/ 2300874 w 4964699"/>
              <a:gd name="connsiteY4" fmla="*/ 4763 h 6977063"/>
              <a:gd name="connsiteX5" fmla="*/ 4964699 w 4964699"/>
              <a:gd name="connsiteY5" fmla="*/ 11113 h 6977063"/>
              <a:gd name="connsiteX6" fmla="*/ 4964699 w 4964699"/>
              <a:gd name="connsiteY6" fmla="*/ 6977063 h 6977063"/>
              <a:gd name="connsiteX7" fmla="*/ 3704225 w 4964699"/>
              <a:gd name="connsiteY7" fmla="*/ 6964363 h 6977063"/>
              <a:gd name="connsiteX8" fmla="*/ 3615325 w 4964699"/>
              <a:gd name="connsiteY8" fmla="*/ 6964363 h 6977063"/>
              <a:gd name="connsiteX9" fmla="*/ 2389775 w 4964699"/>
              <a:gd name="connsiteY9" fmla="*/ 6964363 h 6977063"/>
              <a:gd name="connsiteX10" fmla="*/ 2288175 w 4964699"/>
              <a:gd name="connsiteY10" fmla="*/ 6970713 h 6977063"/>
              <a:gd name="connsiteX11" fmla="*/ 346555 w 4964699"/>
              <a:gd name="connsiteY11" fmla="*/ 6977063 h 6977063"/>
              <a:gd name="connsiteX12" fmla="*/ 332375 w 4964699"/>
              <a:gd name="connsiteY12" fmla="*/ 1846263 h 6977063"/>
              <a:gd name="connsiteX13" fmla="*/ 338724 w 4964699"/>
              <a:gd name="connsiteY13" fmla="*/ 1630363 h 6977063"/>
              <a:gd name="connsiteX14" fmla="*/ 346555 w 4964699"/>
              <a:gd name="connsiteY14" fmla="*/ 11113 h 6977063"/>
              <a:gd name="connsiteX0" fmla="*/ 346555 w 4964699"/>
              <a:gd name="connsiteY0" fmla="*/ 6350 h 6972300"/>
              <a:gd name="connsiteX1" fmla="*/ 967374 w 4964699"/>
              <a:gd name="connsiteY1" fmla="*/ 0 h 6972300"/>
              <a:gd name="connsiteX2" fmla="*/ 2526300 w 4964699"/>
              <a:gd name="connsiteY2" fmla="*/ 3881437 h 6972300"/>
              <a:gd name="connsiteX3" fmla="*/ 1062624 w 4964699"/>
              <a:gd name="connsiteY3" fmla="*/ 0 h 6972300"/>
              <a:gd name="connsiteX4" fmla="*/ 2300874 w 4964699"/>
              <a:gd name="connsiteY4" fmla="*/ 0 h 6972300"/>
              <a:gd name="connsiteX5" fmla="*/ 4964699 w 4964699"/>
              <a:gd name="connsiteY5" fmla="*/ 6350 h 6972300"/>
              <a:gd name="connsiteX6" fmla="*/ 4964699 w 4964699"/>
              <a:gd name="connsiteY6" fmla="*/ 6972300 h 6972300"/>
              <a:gd name="connsiteX7" fmla="*/ 3704225 w 4964699"/>
              <a:gd name="connsiteY7" fmla="*/ 6959600 h 6972300"/>
              <a:gd name="connsiteX8" fmla="*/ 3615325 w 4964699"/>
              <a:gd name="connsiteY8" fmla="*/ 6959600 h 6972300"/>
              <a:gd name="connsiteX9" fmla="*/ 2389775 w 4964699"/>
              <a:gd name="connsiteY9" fmla="*/ 6959600 h 6972300"/>
              <a:gd name="connsiteX10" fmla="*/ 2288175 w 4964699"/>
              <a:gd name="connsiteY10" fmla="*/ 6965950 h 6972300"/>
              <a:gd name="connsiteX11" fmla="*/ 346555 w 4964699"/>
              <a:gd name="connsiteY11" fmla="*/ 6972300 h 6972300"/>
              <a:gd name="connsiteX12" fmla="*/ 332375 w 4964699"/>
              <a:gd name="connsiteY12" fmla="*/ 1841500 h 6972300"/>
              <a:gd name="connsiteX13" fmla="*/ 338724 w 4964699"/>
              <a:gd name="connsiteY13" fmla="*/ 1625600 h 6972300"/>
              <a:gd name="connsiteX14" fmla="*/ 346555 w 4964699"/>
              <a:gd name="connsiteY14" fmla="*/ 6350 h 6972300"/>
              <a:gd name="connsiteX0" fmla="*/ 346555 w 4964699"/>
              <a:gd name="connsiteY0" fmla="*/ 6350 h 6972300"/>
              <a:gd name="connsiteX1" fmla="*/ 967374 w 4964699"/>
              <a:gd name="connsiteY1" fmla="*/ 0 h 6972300"/>
              <a:gd name="connsiteX2" fmla="*/ 3699780 w 4964699"/>
              <a:gd name="connsiteY2" fmla="*/ 6967537 h 6972300"/>
              <a:gd name="connsiteX3" fmla="*/ 1062624 w 4964699"/>
              <a:gd name="connsiteY3" fmla="*/ 0 h 6972300"/>
              <a:gd name="connsiteX4" fmla="*/ 2300874 w 4964699"/>
              <a:gd name="connsiteY4" fmla="*/ 0 h 6972300"/>
              <a:gd name="connsiteX5" fmla="*/ 4964699 w 4964699"/>
              <a:gd name="connsiteY5" fmla="*/ 6350 h 6972300"/>
              <a:gd name="connsiteX6" fmla="*/ 4964699 w 4964699"/>
              <a:gd name="connsiteY6" fmla="*/ 6972300 h 6972300"/>
              <a:gd name="connsiteX7" fmla="*/ 3704225 w 4964699"/>
              <a:gd name="connsiteY7" fmla="*/ 6959600 h 6972300"/>
              <a:gd name="connsiteX8" fmla="*/ 3615325 w 4964699"/>
              <a:gd name="connsiteY8" fmla="*/ 6959600 h 6972300"/>
              <a:gd name="connsiteX9" fmla="*/ 2389775 w 4964699"/>
              <a:gd name="connsiteY9" fmla="*/ 6959600 h 6972300"/>
              <a:gd name="connsiteX10" fmla="*/ 2288175 w 4964699"/>
              <a:gd name="connsiteY10" fmla="*/ 6965950 h 6972300"/>
              <a:gd name="connsiteX11" fmla="*/ 346555 w 4964699"/>
              <a:gd name="connsiteY11" fmla="*/ 6972300 h 6972300"/>
              <a:gd name="connsiteX12" fmla="*/ 332375 w 4964699"/>
              <a:gd name="connsiteY12" fmla="*/ 1841500 h 6972300"/>
              <a:gd name="connsiteX13" fmla="*/ 338724 w 4964699"/>
              <a:gd name="connsiteY13" fmla="*/ 1625600 h 6972300"/>
              <a:gd name="connsiteX14" fmla="*/ 346555 w 4964699"/>
              <a:gd name="connsiteY14" fmla="*/ 6350 h 6972300"/>
              <a:gd name="connsiteX0" fmla="*/ 346555 w 4964699"/>
              <a:gd name="connsiteY0" fmla="*/ 6350 h 6972300"/>
              <a:gd name="connsiteX1" fmla="*/ 967374 w 4964699"/>
              <a:gd name="connsiteY1" fmla="*/ 0 h 6972300"/>
              <a:gd name="connsiteX2" fmla="*/ 2684415 w 4964699"/>
              <a:gd name="connsiteY2" fmla="*/ 438150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615325 w 4964699"/>
              <a:gd name="connsiteY9" fmla="*/ 695960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346555 w 4964699"/>
              <a:gd name="connsiteY0" fmla="*/ 6350 h 6972300"/>
              <a:gd name="connsiteX1" fmla="*/ 967374 w 4964699"/>
              <a:gd name="connsiteY1" fmla="*/ 0 h 6972300"/>
              <a:gd name="connsiteX2" fmla="*/ 3621675 w 4964699"/>
              <a:gd name="connsiteY2" fmla="*/ 695706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615325 w 4964699"/>
              <a:gd name="connsiteY9" fmla="*/ 695960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346555 w 4964699"/>
              <a:gd name="connsiteY0" fmla="*/ 6350 h 6972300"/>
              <a:gd name="connsiteX1" fmla="*/ 967374 w 4964699"/>
              <a:gd name="connsiteY1" fmla="*/ 0 h 6972300"/>
              <a:gd name="connsiteX2" fmla="*/ 3621675 w 4964699"/>
              <a:gd name="connsiteY2" fmla="*/ 695706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592465 w 4964699"/>
              <a:gd name="connsiteY9" fmla="*/ 695198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154847 w 4772991"/>
              <a:gd name="connsiteY0" fmla="*/ 6350 h 6972300"/>
              <a:gd name="connsiteX1" fmla="*/ 775666 w 4772991"/>
              <a:gd name="connsiteY1" fmla="*/ 0 h 6972300"/>
              <a:gd name="connsiteX2" fmla="*/ 3429967 w 4772991"/>
              <a:gd name="connsiteY2" fmla="*/ 6957060 h 6972300"/>
              <a:gd name="connsiteX3" fmla="*/ 3508072 w 4772991"/>
              <a:gd name="connsiteY3" fmla="*/ 6967537 h 6972300"/>
              <a:gd name="connsiteX4" fmla="*/ 870916 w 4772991"/>
              <a:gd name="connsiteY4" fmla="*/ 0 h 6972300"/>
              <a:gd name="connsiteX5" fmla="*/ 2109166 w 4772991"/>
              <a:gd name="connsiteY5" fmla="*/ 0 h 6972300"/>
              <a:gd name="connsiteX6" fmla="*/ 4772991 w 4772991"/>
              <a:gd name="connsiteY6" fmla="*/ 6350 h 6972300"/>
              <a:gd name="connsiteX7" fmla="*/ 4772991 w 4772991"/>
              <a:gd name="connsiteY7" fmla="*/ 6972300 h 6972300"/>
              <a:gd name="connsiteX8" fmla="*/ 3512517 w 4772991"/>
              <a:gd name="connsiteY8" fmla="*/ 6959600 h 6972300"/>
              <a:gd name="connsiteX9" fmla="*/ 3400757 w 4772991"/>
              <a:gd name="connsiteY9" fmla="*/ 6951980 h 6972300"/>
              <a:gd name="connsiteX10" fmla="*/ 2198067 w 4772991"/>
              <a:gd name="connsiteY10" fmla="*/ 6959600 h 6972300"/>
              <a:gd name="connsiteX11" fmla="*/ 2096467 w 4772991"/>
              <a:gd name="connsiteY11" fmla="*/ 6965950 h 6972300"/>
              <a:gd name="connsiteX12" fmla="*/ 154847 w 4772991"/>
              <a:gd name="connsiteY12" fmla="*/ 6972300 h 6972300"/>
              <a:gd name="connsiteX13" fmla="*/ 121617 w 4772991"/>
              <a:gd name="connsiteY13" fmla="*/ 1974850 h 6972300"/>
              <a:gd name="connsiteX14" fmla="*/ 140667 w 4772991"/>
              <a:gd name="connsiteY14" fmla="*/ 1841500 h 6972300"/>
              <a:gd name="connsiteX15" fmla="*/ 147016 w 4772991"/>
              <a:gd name="connsiteY15" fmla="*/ 1625600 h 6972300"/>
              <a:gd name="connsiteX16" fmla="*/ 154847 w 4772991"/>
              <a:gd name="connsiteY16"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123157 w 4774531"/>
              <a:gd name="connsiteY14" fmla="*/ 1974850 h 6972300"/>
              <a:gd name="connsiteX15" fmla="*/ 142207 w 4774531"/>
              <a:gd name="connsiteY15" fmla="*/ 1841500 h 6972300"/>
              <a:gd name="connsiteX16" fmla="*/ 148556 w 4774531"/>
              <a:gd name="connsiteY16" fmla="*/ 1625600 h 6972300"/>
              <a:gd name="connsiteX17" fmla="*/ 156387 w 4774531"/>
              <a:gd name="connsiteY17"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123157 w 4774531"/>
              <a:gd name="connsiteY14" fmla="*/ 1974850 h 6972300"/>
              <a:gd name="connsiteX15" fmla="*/ 525589 w 4774531"/>
              <a:gd name="connsiteY15" fmla="*/ 1889125 h 6972300"/>
              <a:gd name="connsiteX16" fmla="*/ 148556 w 4774531"/>
              <a:gd name="connsiteY16" fmla="*/ 1625600 h 6972300"/>
              <a:gd name="connsiteX17" fmla="*/ 156387 w 4774531"/>
              <a:gd name="connsiteY17"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430338 w 4774531"/>
              <a:gd name="connsiteY14" fmla="*/ 2432050 h 6972300"/>
              <a:gd name="connsiteX15" fmla="*/ 525589 w 4774531"/>
              <a:gd name="connsiteY15" fmla="*/ 1889125 h 6972300"/>
              <a:gd name="connsiteX16" fmla="*/ 148556 w 4774531"/>
              <a:gd name="connsiteY16" fmla="*/ 1625600 h 6972300"/>
              <a:gd name="connsiteX17" fmla="*/ 156387 w 4774531"/>
              <a:gd name="connsiteY17" fmla="*/ 6350 h 6972300"/>
              <a:gd name="connsiteX0" fmla="*/ 146526 w 4764670"/>
              <a:gd name="connsiteY0" fmla="*/ 6350 h 6972300"/>
              <a:gd name="connsiteX1" fmla="*/ 767345 w 4764670"/>
              <a:gd name="connsiteY1" fmla="*/ 0 h 6972300"/>
              <a:gd name="connsiteX2" fmla="*/ 3421646 w 4764670"/>
              <a:gd name="connsiteY2" fmla="*/ 6957060 h 6972300"/>
              <a:gd name="connsiteX3" fmla="*/ 3499751 w 4764670"/>
              <a:gd name="connsiteY3" fmla="*/ 6967537 h 6972300"/>
              <a:gd name="connsiteX4" fmla="*/ 862595 w 4764670"/>
              <a:gd name="connsiteY4" fmla="*/ 0 h 6972300"/>
              <a:gd name="connsiteX5" fmla="*/ 2100845 w 4764670"/>
              <a:gd name="connsiteY5" fmla="*/ 0 h 6972300"/>
              <a:gd name="connsiteX6" fmla="*/ 4764670 w 4764670"/>
              <a:gd name="connsiteY6" fmla="*/ 6350 h 6972300"/>
              <a:gd name="connsiteX7" fmla="*/ 4764670 w 4764670"/>
              <a:gd name="connsiteY7" fmla="*/ 6972300 h 6972300"/>
              <a:gd name="connsiteX8" fmla="*/ 3504196 w 4764670"/>
              <a:gd name="connsiteY8" fmla="*/ 6959600 h 6972300"/>
              <a:gd name="connsiteX9" fmla="*/ 3392436 w 4764670"/>
              <a:gd name="connsiteY9" fmla="*/ 6951980 h 6972300"/>
              <a:gd name="connsiteX10" fmla="*/ 2189746 w 4764670"/>
              <a:gd name="connsiteY10" fmla="*/ 6959600 h 6972300"/>
              <a:gd name="connsiteX11" fmla="*/ 2088146 w 4764670"/>
              <a:gd name="connsiteY11" fmla="*/ 6965950 h 6972300"/>
              <a:gd name="connsiteX12" fmla="*/ 146526 w 4764670"/>
              <a:gd name="connsiteY12" fmla="*/ 6972300 h 6972300"/>
              <a:gd name="connsiteX13" fmla="*/ 142665 w 4764670"/>
              <a:gd name="connsiteY13" fmla="*/ 2000250 h 6972300"/>
              <a:gd name="connsiteX14" fmla="*/ 420477 w 4764670"/>
              <a:gd name="connsiteY14" fmla="*/ 2432050 h 6972300"/>
              <a:gd name="connsiteX15" fmla="*/ 515728 w 4764670"/>
              <a:gd name="connsiteY15" fmla="*/ 1889125 h 6972300"/>
              <a:gd name="connsiteX16" fmla="*/ 138695 w 4764670"/>
              <a:gd name="connsiteY16" fmla="*/ 1625600 h 6972300"/>
              <a:gd name="connsiteX17" fmla="*/ 146526 w 4764670"/>
              <a:gd name="connsiteY17" fmla="*/ 6350 h 6972300"/>
              <a:gd name="connsiteX0" fmla="*/ 146526 w 4764670"/>
              <a:gd name="connsiteY0" fmla="*/ 6350 h 6972300"/>
              <a:gd name="connsiteX1" fmla="*/ 767345 w 4764670"/>
              <a:gd name="connsiteY1" fmla="*/ 0 h 6972300"/>
              <a:gd name="connsiteX2" fmla="*/ 3421646 w 4764670"/>
              <a:gd name="connsiteY2" fmla="*/ 6957060 h 6972300"/>
              <a:gd name="connsiteX3" fmla="*/ 3499751 w 4764670"/>
              <a:gd name="connsiteY3" fmla="*/ 6967537 h 6972300"/>
              <a:gd name="connsiteX4" fmla="*/ 862595 w 4764670"/>
              <a:gd name="connsiteY4" fmla="*/ 0 h 6972300"/>
              <a:gd name="connsiteX5" fmla="*/ 2100845 w 4764670"/>
              <a:gd name="connsiteY5" fmla="*/ 0 h 6972300"/>
              <a:gd name="connsiteX6" fmla="*/ 4764670 w 4764670"/>
              <a:gd name="connsiteY6" fmla="*/ 6350 h 6972300"/>
              <a:gd name="connsiteX7" fmla="*/ 4764670 w 4764670"/>
              <a:gd name="connsiteY7" fmla="*/ 6972300 h 6972300"/>
              <a:gd name="connsiteX8" fmla="*/ 3504196 w 4764670"/>
              <a:gd name="connsiteY8" fmla="*/ 6959600 h 6972300"/>
              <a:gd name="connsiteX9" fmla="*/ 3392436 w 4764670"/>
              <a:gd name="connsiteY9" fmla="*/ 6951980 h 6972300"/>
              <a:gd name="connsiteX10" fmla="*/ 2189746 w 4764670"/>
              <a:gd name="connsiteY10" fmla="*/ 6959600 h 6972300"/>
              <a:gd name="connsiteX11" fmla="*/ 2088146 w 4764670"/>
              <a:gd name="connsiteY11" fmla="*/ 6965950 h 6972300"/>
              <a:gd name="connsiteX12" fmla="*/ 146526 w 4764670"/>
              <a:gd name="connsiteY12" fmla="*/ 6972300 h 6972300"/>
              <a:gd name="connsiteX13" fmla="*/ 142665 w 4764670"/>
              <a:gd name="connsiteY13" fmla="*/ 2000250 h 6972300"/>
              <a:gd name="connsiteX14" fmla="*/ 420477 w 4764670"/>
              <a:gd name="connsiteY14" fmla="*/ 2432050 h 6972300"/>
              <a:gd name="connsiteX15" fmla="*/ 515728 w 4764670"/>
              <a:gd name="connsiteY15" fmla="*/ 1889125 h 6972300"/>
              <a:gd name="connsiteX16" fmla="*/ 138695 w 4764670"/>
              <a:gd name="connsiteY16" fmla="*/ 1625600 h 6972300"/>
              <a:gd name="connsiteX17" fmla="*/ 146526 w 476467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411767 w 4755960"/>
              <a:gd name="connsiteY14" fmla="*/ 2432050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1545242 w 4755960"/>
              <a:gd name="connsiteY14" fmla="*/ 5541962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2078642 w 4755960"/>
              <a:gd name="connsiteY14" fmla="*/ 6970712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29985 w 4755960"/>
              <a:gd name="connsiteY16" fmla="*/ 1625600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44272 w 4755960"/>
              <a:gd name="connsiteY16" fmla="*/ 1616076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44272 w 4755960"/>
              <a:gd name="connsiteY16" fmla="*/ 1616076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29985 w 4755960"/>
              <a:gd name="connsiteY16" fmla="*/ 1630363 h 6977874"/>
              <a:gd name="connsiteX17" fmla="*/ 137816 w 4755960"/>
              <a:gd name="connsiteY17" fmla="*/ 6350 h 6977874"/>
              <a:gd name="connsiteX0" fmla="*/ 142330 w 4760474"/>
              <a:gd name="connsiteY0" fmla="*/ 6350 h 6977874"/>
              <a:gd name="connsiteX1" fmla="*/ 763149 w 4760474"/>
              <a:gd name="connsiteY1" fmla="*/ 0 h 6977874"/>
              <a:gd name="connsiteX2" fmla="*/ 3417450 w 4760474"/>
              <a:gd name="connsiteY2" fmla="*/ 6957060 h 6977874"/>
              <a:gd name="connsiteX3" fmla="*/ 3495555 w 4760474"/>
              <a:gd name="connsiteY3" fmla="*/ 6967537 h 6977874"/>
              <a:gd name="connsiteX4" fmla="*/ 858399 w 4760474"/>
              <a:gd name="connsiteY4" fmla="*/ 0 h 6977874"/>
              <a:gd name="connsiteX5" fmla="*/ 2096649 w 4760474"/>
              <a:gd name="connsiteY5" fmla="*/ 0 h 6977874"/>
              <a:gd name="connsiteX6" fmla="*/ 4760474 w 4760474"/>
              <a:gd name="connsiteY6" fmla="*/ 6350 h 6977874"/>
              <a:gd name="connsiteX7" fmla="*/ 4760474 w 4760474"/>
              <a:gd name="connsiteY7" fmla="*/ 6972300 h 6977874"/>
              <a:gd name="connsiteX8" fmla="*/ 3500000 w 4760474"/>
              <a:gd name="connsiteY8" fmla="*/ 6959600 h 6977874"/>
              <a:gd name="connsiteX9" fmla="*/ 3388240 w 4760474"/>
              <a:gd name="connsiteY9" fmla="*/ 6951980 h 6977874"/>
              <a:gd name="connsiteX10" fmla="*/ 2185550 w 4760474"/>
              <a:gd name="connsiteY10" fmla="*/ 6959600 h 6977874"/>
              <a:gd name="connsiteX11" fmla="*/ 2083950 w 4760474"/>
              <a:gd name="connsiteY11" fmla="*/ 6965950 h 6977874"/>
              <a:gd name="connsiteX12" fmla="*/ 142330 w 4760474"/>
              <a:gd name="connsiteY12" fmla="*/ 6972300 h 6977874"/>
              <a:gd name="connsiteX13" fmla="*/ 155138 w 4760474"/>
              <a:gd name="connsiteY13" fmla="*/ 1883569 h 6977874"/>
              <a:gd name="connsiteX14" fmla="*/ 2083156 w 4760474"/>
              <a:gd name="connsiteY14" fmla="*/ 6970712 h 6977874"/>
              <a:gd name="connsiteX15" fmla="*/ 2183170 w 4760474"/>
              <a:gd name="connsiteY15" fmla="*/ 6956425 h 6977874"/>
              <a:gd name="connsiteX16" fmla="*/ 134499 w 4760474"/>
              <a:gd name="connsiteY16" fmla="*/ 1630363 h 6977874"/>
              <a:gd name="connsiteX17" fmla="*/ 142330 w 4760474"/>
              <a:gd name="connsiteY17" fmla="*/ 6350 h 6977874"/>
              <a:gd name="connsiteX0" fmla="*/ 144363 w 4762507"/>
              <a:gd name="connsiteY0" fmla="*/ 6350 h 6977874"/>
              <a:gd name="connsiteX1" fmla="*/ 765182 w 4762507"/>
              <a:gd name="connsiteY1" fmla="*/ 0 h 6977874"/>
              <a:gd name="connsiteX2" fmla="*/ 3419483 w 4762507"/>
              <a:gd name="connsiteY2" fmla="*/ 6957060 h 6977874"/>
              <a:gd name="connsiteX3" fmla="*/ 3497588 w 4762507"/>
              <a:gd name="connsiteY3" fmla="*/ 6967537 h 6977874"/>
              <a:gd name="connsiteX4" fmla="*/ 860432 w 4762507"/>
              <a:gd name="connsiteY4" fmla="*/ 0 h 6977874"/>
              <a:gd name="connsiteX5" fmla="*/ 2098682 w 4762507"/>
              <a:gd name="connsiteY5" fmla="*/ 0 h 6977874"/>
              <a:gd name="connsiteX6" fmla="*/ 4762507 w 4762507"/>
              <a:gd name="connsiteY6" fmla="*/ 6350 h 6977874"/>
              <a:gd name="connsiteX7" fmla="*/ 4762507 w 4762507"/>
              <a:gd name="connsiteY7" fmla="*/ 6972300 h 6977874"/>
              <a:gd name="connsiteX8" fmla="*/ 3502033 w 4762507"/>
              <a:gd name="connsiteY8" fmla="*/ 6959600 h 6977874"/>
              <a:gd name="connsiteX9" fmla="*/ 3390273 w 4762507"/>
              <a:gd name="connsiteY9" fmla="*/ 6951980 h 6977874"/>
              <a:gd name="connsiteX10" fmla="*/ 2187583 w 4762507"/>
              <a:gd name="connsiteY10" fmla="*/ 6959600 h 6977874"/>
              <a:gd name="connsiteX11" fmla="*/ 2085983 w 4762507"/>
              <a:gd name="connsiteY11" fmla="*/ 6965950 h 6977874"/>
              <a:gd name="connsiteX12" fmla="*/ 144363 w 4762507"/>
              <a:gd name="connsiteY12" fmla="*/ 6972300 h 6977874"/>
              <a:gd name="connsiteX13" fmla="*/ 157171 w 4762507"/>
              <a:gd name="connsiteY13" fmla="*/ 1883569 h 6977874"/>
              <a:gd name="connsiteX14" fmla="*/ 2085189 w 4762507"/>
              <a:gd name="connsiteY14" fmla="*/ 6970712 h 6977874"/>
              <a:gd name="connsiteX15" fmla="*/ 2185203 w 4762507"/>
              <a:gd name="connsiteY15" fmla="*/ 6956425 h 6977874"/>
              <a:gd name="connsiteX16" fmla="*/ 136532 w 4762507"/>
              <a:gd name="connsiteY16" fmla="*/ 1630363 h 6977874"/>
              <a:gd name="connsiteX17" fmla="*/ 144363 w 4762507"/>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8220 w 4626364"/>
              <a:gd name="connsiteY12" fmla="*/ 6972300 h 6977874"/>
              <a:gd name="connsiteX13" fmla="*/ 21028 w 4626364"/>
              <a:gd name="connsiteY13" fmla="*/ 188356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46320 w 4626364"/>
              <a:gd name="connsiteY12" fmla="*/ 6965950 h 6977874"/>
              <a:gd name="connsiteX13" fmla="*/ 21028 w 4626364"/>
              <a:gd name="connsiteY13" fmla="*/ 188356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46320 w 4626364"/>
              <a:gd name="connsiteY12" fmla="*/ 6965950 h 6977874"/>
              <a:gd name="connsiteX13" fmla="*/ 40078 w 4626364"/>
              <a:gd name="connsiteY13" fmla="*/ 194071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350 h 6977874"/>
              <a:gd name="connsiteX7" fmla="*/ 4618340 w 4618340"/>
              <a:gd name="connsiteY7" fmla="*/ 6972300 h 6977874"/>
              <a:gd name="connsiteX8" fmla="*/ 3357866 w 4618340"/>
              <a:gd name="connsiteY8" fmla="*/ 6959600 h 6977874"/>
              <a:gd name="connsiteX9" fmla="*/ 3246106 w 4618340"/>
              <a:gd name="connsiteY9" fmla="*/ 6951980 h 6977874"/>
              <a:gd name="connsiteX10" fmla="*/ 2043416 w 4618340"/>
              <a:gd name="connsiteY10" fmla="*/ 6959600 h 6977874"/>
              <a:gd name="connsiteX11" fmla="*/ 1941816 w 4618340"/>
              <a:gd name="connsiteY11" fmla="*/ 6965950 h 6977874"/>
              <a:gd name="connsiteX12" fmla="*/ 38296 w 4618340"/>
              <a:gd name="connsiteY12" fmla="*/ 6965950 h 6977874"/>
              <a:gd name="connsiteX13" fmla="*/ 32054 w 4618340"/>
              <a:gd name="connsiteY13" fmla="*/ 1940719 h 6977874"/>
              <a:gd name="connsiteX14" fmla="*/ 1941022 w 4618340"/>
              <a:gd name="connsiteY14" fmla="*/ 6970712 h 6977874"/>
              <a:gd name="connsiteX15" fmla="*/ 2041036 w 4618340"/>
              <a:gd name="connsiteY15" fmla="*/ 6956425 h 6977874"/>
              <a:gd name="connsiteX16" fmla="*/ 24115 w 4618340"/>
              <a:gd name="connsiteY16" fmla="*/ 1712913 h 6977874"/>
              <a:gd name="connsiteX17" fmla="*/ 196 w 4618340"/>
              <a:gd name="connsiteY17"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4102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6007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7912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17422 h 6977874"/>
              <a:gd name="connsiteX13" fmla="*/ 197912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17422 h 6977874"/>
              <a:gd name="connsiteX13" fmla="*/ 1984947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82584"/>
              <a:gd name="connsiteX1" fmla="*/ 621015 w 4618340"/>
              <a:gd name="connsiteY1" fmla="*/ 0 h 6982584"/>
              <a:gd name="connsiteX2" fmla="*/ 3275316 w 4618340"/>
              <a:gd name="connsiteY2" fmla="*/ 6957060 h 6982584"/>
              <a:gd name="connsiteX3" fmla="*/ 3353421 w 4618340"/>
              <a:gd name="connsiteY3" fmla="*/ 6967537 h 6982584"/>
              <a:gd name="connsiteX4" fmla="*/ 716265 w 4618340"/>
              <a:gd name="connsiteY4" fmla="*/ 0 h 6982584"/>
              <a:gd name="connsiteX5" fmla="*/ 1954515 w 4618340"/>
              <a:gd name="connsiteY5" fmla="*/ 0 h 6982584"/>
              <a:gd name="connsiteX6" fmla="*/ 4618340 w 4618340"/>
              <a:gd name="connsiteY6" fmla="*/ 6972300 h 6982584"/>
              <a:gd name="connsiteX7" fmla="*/ 3357866 w 4618340"/>
              <a:gd name="connsiteY7" fmla="*/ 6959600 h 6982584"/>
              <a:gd name="connsiteX8" fmla="*/ 3246106 w 4618340"/>
              <a:gd name="connsiteY8" fmla="*/ 6951980 h 6982584"/>
              <a:gd name="connsiteX9" fmla="*/ 2043416 w 4618340"/>
              <a:gd name="connsiteY9" fmla="*/ 6959600 h 6982584"/>
              <a:gd name="connsiteX10" fmla="*/ 1941816 w 4618340"/>
              <a:gd name="connsiteY10" fmla="*/ 6965950 h 6982584"/>
              <a:gd name="connsiteX11" fmla="*/ 38296 w 4618340"/>
              <a:gd name="connsiteY11" fmla="*/ 6965950 h 6982584"/>
              <a:gd name="connsiteX12" fmla="*/ 32054 w 4618340"/>
              <a:gd name="connsiteY12" fmla="*/ 1917422 h 6982584"/>
              <a:gd name="connsiteX13" fmla="*/ 2002419 w 4618340"/>
              <a:gd name="connsiteY13" fmla="*/ 6982360 h 6982584"/>
              <a:gd name="connsiteX14" fmla="*/ 2041036 w 4618340"/>
              <a:gd name="connsiteY14" fmla="*/ 6956425 h 6982584"/>
              <a:gd name="connsiteX15" fmla="*/ 24115 w 4618340"/>
              <a:gd name="connsiteY15" fmla="*/ 1712913 h 6982584"/>
              <a:gd name="connsiteX16" fmla="*/ 196 w 4618340"/>
              <a:gd name="connsiteY16" fmla="*/ 6350 h 6982584"/>
              <a:gd name="connsiteX0" fmla="*/ 196 w 4618340"/>
              <a:gd name="connsiteY0" fmla="*/ 6350 h 6982585"/>
              <a:gd name="connsiteX1" fmla="*/ 621015 w 4618340"/>
              <a:gd name="connsiteY1" fmla="*/ 0 h 6982585"/>
              <a:gd name="connsiteX2" fmla="*/ 3275316 w 4618340"/>
              <a:gd name="connsiteY2" fmla="*/ 6957060 h 6982585"/>
              <a:gd name="connsiteX3" fmla="*/ 3353421 w 4618340"/>
              <a:gd name="connsiteY3" fmla="*/ 6967537 h 6982585"/>
              <a:gd name="connsiteX4" fmla="*/ 716265 w 4618340"/>
              <a:gd name="connsiteY4" fmla="*/ 0 h 6982585"/>
              <a:gd name="connsiteX5" fmla="*/ 1954515 w 4618340"/>
              <a:gd name="connsiteY5" fmla="*/ 0 h 6982585"/>
              <a:gd name="connsiteX6" fmla="*/ 4618340 w 4618340"/>
              <a:gd name="connsiteY6" fmla="*/ 6972300 h 6982585"/>
              <a:gd name="connsiteX7" fmla="*/ 3357866 w 4618340"/>
              <a:gd name="connsiteY7" fmla="*/ 6959600 h 6982585"/>
              <a:gd name="connsiteX8" fmla="*/ 3246106 w 4618340"/>
              <a:gd name="connsiteY8" fmla="*/ 6951980 h 6982585"/>
              <a:gd name="connsiteX9" fmla="*/ 2043416 w 4618340"/>
              <a:gd name="connsiteY9" fmla="*/ 6959600 h 6982585"/>
              <a:gd name="connsiteX10" fmla="*/ 1941816 w 4618340"/>
              <a:gd name="connsiteY10" fmla="*/ 6965950 h 6982585"/>
              <a:gd name="connsiteX11" fmla="*/ 38296 w 4618340"/>
              <a:gd name="connsiteY11" fmla="*/ 6965950 h 6982585"/>
              <a:gd name="connsiteX12" fmla="*/ 32054 w 4618340"/>
              <a:gd name="connsiteY12" fmla="*/ 1946543 h 6982585"/>
              <a:gd name="connsiteX13" fmla="*/ 2002419 w 4618340"/>
              <a:gd name="connsiteY13" fmla="*/ 6982360 h 6982585"/>
              <a:gd name="connsiteX14" fmla="*/ 2041036 w 4618340"/>
              <a:gd name="connsiteY14" fmla="*/ 6956425 h 6982585"/>
              <a:gd name="connsiteX15" fmla="*/ 24115 w 4618340"/>
              <a:gd name="connsiteY15" fmla="*/ 1712913 h 6982585"/>
              <a:gd name="connsiteX16" fmla="*/ 196 w 4618340"/>
              <a:gd name="connsiteY16" fmla="*/ 6350 h 6982585"/>
              <a:gd name="connsiteX0" fmla="*/ 196 w 4618340"/>
              <a:gd name="connsiteY0" fmla="*/ 6350 h 6982585"/>
              <a:gd name="connsiteX1" fmla="*/ 621015 w 4618340"/>
              <a:gd name="connsiteY1" fmla="*/ 0 h 6982585"/>
              <a:gd name="connsiteX2" fmla="*/ 3275316 w 4618340"/>
              <a:gd name="connsiteY2" fmla="*/ 6957060 h 6982585"/>
              <a:gd name="connsiteX3" fmla="*/ 3353421 w 4618340"/>
              <a:gd name="connsiteY3" fmla="*/ 6967537 h 6982585"/>
              <a:gd name="connsiteX4" fmla="*/ 716265 w 4618340"/>
              <a:gd name="connsiteY4" fmla="*/ 0 h 6982585"/>
              <a:gd name="connsiteX5" fmla="*/ 1954515 w 4618340"/>
              <a:gd name="connsiteY5" fmla="*/ 0 h 6982585"/>
              <a:gd name="connsiteX6" fmla="*/ 4618340 w 4618340"/>
              <a:gd name="connsiteY6" fmla="*/ 6972300 h 6982585"/>
              <a:gd name="connsiteX7" fmla="*/ 3357866 w 4618340"/>
              <a:gd name="connsiteY7" fmla="*/ 6959600 h 6982585"/>
              <a:gd name="connsiteX8" fmla="*/ 3246106 w 4618340"/>
              <a:gd name="connsiteY8" fmla="*/ 6951980 h 6982585"/>
              <a:gd name="connsiteX9" fmla="*/ 2043416 w 4618340"/>
              <a:gd name="connsiteY9" fmla="*/ 6959600 h 6982585"/>
              <a:gd name="connsiteX10" fmla="*/ 1941816 w 4618340"/>
              <a:gd name="connsiteY10" fmla="*/ 6965950 h 6982585"/>
              <a:gd name="connsiteX11" fmla="*/ 38296 w 4618340"/>
              <a:gd name="connsiteY11" fmla="*/ 6965950 h 6982585"/>
              <a:gd name="connsiteX12" fmla="*/ 32054 w 4618340"/>
              <a:gd name="connsiteY12" fmla="*/ 1946543 h 6982585"/>
              <a:gd name="connsiteX13" fmla="*/ 1990770 w 4618340"/>
              <a:gd name="connsiteY13" fmla="*/ 6982360 h 6982585"/>
              <a:gd name="connsiteX14" fmla="*/ 2041036 w 4618340"/>
              <a:gd name="connsiteY14" fmla="*/ 6956425 h 6982585"/>
              <a:gd name="connsiteX15" fmla="*/ 24115 w 4618340"/>
              <a:gd name="connsiteY15" fmla="*/ 1712913 h 6982585"/>
              <a:gd name="connsiteX16" fmla="*/ 196 w 4618340"/>
              <a:gd name="connsiteY16" fmla="*/ 6350 h 6982585"/>
              <a:gd name="connsiteX0" fmla="*/ 196 w 4618340"/>
              <a:gd name="connsiteY0" fmla="*/ 6350 h 6982585"/>
              <a:gd name="connsiteX1" fmla="*/ 632921 w 4618340"/>
              <a:gd name="connsiteY1" fmla="*/ 0 h 6982585"/>
              <a:gd name="connsiteX2" fmla="*/ 3275316 w 4618340"/>
              <a:gd name="connsiteY2" fmla="*/ 6957060 h 6982585"/>
              <a:gd name="connsiteX3" fmla="*/ 3353421 w 4618340"/>
              <a:gd name="connsiteY3" fmla="*/ 6967537 h 6982585"/>
              <a:gd name="connsiteX4" fmla="*/ 716265 w 4618340"/>
              <a:gd name="connsiteY4" fmla="*/ 0 h 6982585"/>
              <a:gd name="connsiteX5" fmla="*/ 1954515 w 4618340"/>
              <a:gd name="connsiteY5" fmla="*/ 0 h 6982585"/>
              <a:gd name="connsiteX6" fmla="*/ 4618340 w 4618340"/>
              <a:gd name="connsiteY6" fmla="*/ 6972300 h 6982585"/>
              <a:gd name="connsiteX7" fmla="*/ 3357866 w 4618340"/>
              <a:gd name="connsiteY7" fmla="*/ 6959600 h 6982585"/>
              <a:gd name="connsiteX8" fmla="*/ 3246106 w 4618340"/>
              <a:gd name="connsiteY8" fmla="*/ 6951980 h 6982585"/>
              <a:gd name="connsiteX9" fmla="*/ 2043416 w 4618340"/>
              <a:gd name="connsiteY9" fmla="*/ 6959600 h 6982585"/>
              <a:gd name="connsiteX10" fmla="*/ 1941816 w 4618340"/>
              <a:gd name="connsiteY10" fmla="*/ 6965950 h 6982585"/>
              <a:gd name="connsiteX11" fmla="*/ 38296 w 4618340"/>
              <a:gd name="connsiteY11" fmla="*/ 6965950 h 6982585"/>
              <a:gd name="connsiteX12" fmla="*/ 32054 w 4618340"/>
              <a:gd name="connsiteY12" fmla="*/ 1946543 h 6982585"/>
              <a:gd name="connsiteX13" fmla="*/ 1990770 w 4618340"/>
              <a:gd name="connsiteY13" fmla="*/ 6982360 h 6982585"/>
              <a:gd name="connsiteX14" fmla="*/ 2041036 w 4618340"/>
              <a:gd name="connsiteY14" fmla="*/ 6956425 h 6982585"/>
              <a:gd name="connsiteX15" fmla="*/ 24115 w 4618340"/>
              <a:gd name="connsiteY15" fmla="*/ 1712913 h 6982585"/>
              <a:gd name="connsiteX16" fmla="*/ 196 w 4618340"/>
              <a:gd name="connsiteY16" fmla="*/ 6350 h 6982585"/>
              <a:gd name="connsiteX0" fmla="*/ 214 w 4618358"/>
              <a:gd name="connsiteY0" fmla="*/ 6350 h 6982585"/>
              <a:gd name="connsiteX1" fmla="*/ 632939 w 4618358"/>
              <a:gd name="connsiteY1" fmla="*/ 0 h 6982585"/>
              <a:gd name="connsiteX2" fmla="*/ 3275334 w 4618358"/>
              <a:gd name="connsiteY2" fmla="*/ 6957060 h 6982585"/>
              <a:gd name="connsiteX3" fmla="*/ 3353439 w 4618358"/>
              <a:gd name="connsiteY3" fmla="*/ 6967537 h 6982585"/>
              <a:gd name="connsiteX4" fmla="*/ 716283 w 4618358"/>
              <a:gd name="connsiteY4" fmla="*/ 0 h 6982585"/>
              <a:gd name="connsiteX5" fmla="*/ 1954533 w 4618358"/>
              <a:gd name="connsiteY5" fmla="*/ 0 h 6982585"/>
              <a:gd name="connsiteX6" fmla="*/ 4618358 w 4618358"/>
              <a:gd name="connsiteY6" fmla="*/ 6972300 h 6982585"/>
              <a:gd name="connsiteX7" fmla="*/ 3357884 w 4618358"/>
              <a:gd name="connsiteY7" fmla="*/ 6959600 h 6982585"/>
              <a:gd name="connsiteX8" fmla="*/ 3246124 w 4618358"/>
              <a:gd name="connsiteY8" fmla="*/ 6951980 h 6982585"/>
              <a:gd name="connsiteX9" fmla="*/ 2043434 w 4618358"/>
              <a:gd name="connsiteY9" fmla="*/ 6959600 h 6982585"/>
              <a:gd name="connsiteX10" fmla="*/ 1941834 w 4618358"/>
              <a:gd name="connsiteY10" fmla="*/ 6965950 h 6982585"/>
              <a:gd name="connsiteX11" fmla="*/ 38314 w 4618358"/>
              <a:gd name="connsiteY11" fmla="*/ 6965950 h 6982585"/>
              <a:gd name="connsiteX12" fmla="*/ 32072 w 4618358"/>
              <a:gd name="connsiteY12" fmla="*/ 1946543 h 6982585"/>
              <a:gd name="connsiteX13" fmla="*/ 1990788 w 4618358"/>
              <a:gd name="connsiteY13" fmla="*/ 6982360 h 6982585"/>
              <a:gd name="connsiteX14" fmla="*/ 2041054 w 4618358"/>
              <a:gd name="connsiteY14" fmla="*/ 6956425 h 6982585"/>
              <a:gd name="connsiteX15" fmla="*/ 21752 w 4618358"/>
              <a:gd name="connsiteY15" fmla="*/ 1629569 h 6982585"/>
              <a:gd name="connsiteX16" fmla="*/ 214 w 4618358"/>
              <a:gd name="connsiteY16" fmla="*/ 6350 h 6982585"/>
              <a:gd name="connsiteX0" fmla="*/ 214 w 4618358"/>
              <a:gd name="connsiteY0" fmla="*/ 6350 h 7366254"/>
              <a:gd name="connsiteX1" fmla="*/ 632939 w 4618358"/>
              <a:gd name="connsiteY1" fmla="*/ 0 h 7366254"/>
              <a:gd name="connsiteX2" fmla="*/ 3275334 w 4618358"/>
              <a:gd name="connsiteY2" fmla="*/ 6957060 h 7366254"/>
              <a:gd name="connsiteX3" fmla="*/ 3353439 w 4618358"/>
              <a:gd name="connsiteY3" fmla="*/ 6967537 h 7366254"/>
              <a:gd name="connsiteX4" fmla="*/ 716283 w 4618358"/>
              <a:gd name="connsiteY4" fmla="*/ 0 h 7366254"/>
              <a:gd name="connsiteX5" fmla="*/ 1954533 w 4618358"/>
              <a:gd name="connsiteY5" fmla="*/ 0 h 7366254"/>
              <a:gd name="connsiteX6" fmla="*/ 4618358 w 4618358"/>
              <a:gd name="connsiteY6" fmla="*/ 6972300 h 7366254"/>
              <a:gd name="connsiteX7" fmla="*/ 3357884 w 4618358"/>
              <a:gd name="connsiteY7" fmla="*/ 6959600 h 7366254"/>
              <a:gd name="connsiteX8" fmla="*/ 3246124 w 4618358"/>
              <a:gd name="connsiteY8" fmla="*/ 6951980 h 7366254"/>
              <a:gd name="connsiteX9" fmla="*/ 2043434 w 4618358"/>
              <a:gd name="connsiteY9" fmla="*/ 6959600 h 7366254"/>
              <a:gd name="connsiteX10" fmla="*/ 1941834 w 4618358"/>
              <a:gd name="connsiteY10" fmla="*/ 6965950 h 7366254"/>
              <a:gd name="connsiteX11" fmla="*/ 38314 w 4618358"/>
              <a:gd name="connsiteY11" fmla="*/ 6965950 h 7366254"/>
              <a:gd name="connsiteX12" fmla="*/ 39216 w 4618358"/>
              <a:gd name="connsiteY12" fmla="*/ 1858436 h 7366254"/>
              <a:gd name="connsiteX13" fmla="*/ 1990788 w 4618358"/>
              <a:gd name="connsiteY13" fmla="*/ 6982360 h 7366254"/>
              <a:gd name="connsiteX14" fmla="*/ 2041054 w 4618358"/>
              <a:gd name="connsiteY14" fmla="*/ 6956425 h 7366254"/>
              <a:gd name="connsiteX15" fmla="*/ 21752 w 4618358"/>
              <a:gd name="connsiteY15" fmla="*/ 1629569 h 7366254"/>
              <a:gd name="connsiteX16" fmla="*/ 214 w 4618358"/>
              <a:gd name="connsiteY16" fmla="*/ 6350 h 7366254"/>
              <a:gd name="connsiteX0" fmla="*/ 214 w 4618358"/>
              <a:gd name="connsiteY0" fmla="*/ 6350 h 6987302"/>
              <a:gd name="connsiteX1" fmla="*/ 632939 w 4618358"/>
              <a:gd name="connsiteY1" fmla="*/ 0 h 6987302"/>
              <a:gd name="connsiteX2" fmla="*/ 3275334 w 4618358"/>
              <a:gd name="connsiteY2" fmla="*/ 6957060 h 6987302"/>
              <a:gd name="connsiteX3" fmla="*/ 3353439 w 4618358"/>
              <a:gd name="connsiteY3" fmla="*/ 6967537 h 6987302"/>
              <a:gd name="connsiteX4" fmla="*/ 716283 w 4618358"/>
              <a:gd name="connsiteY4" fmla="*/ 0 h 6987302"/>
              <a:gd name="connsiteX5" fmla="*/ 1954533 w 4618358"/>
              <a:gd name="connsiteY5" fmla="*/ 0 h 6987302"/>
              <a:gd name="connsiteX6" fmla="*/ 4618358 w 4618358"/>
              <a:gd name="connsiteY6" fmla="*/ 6972300 h 6987302"/>
              <a:gd name="connsiteX7" fmla="*/ 3357884 w 4618358"/>
              <a:gd name="connsiteY7" fmla="*/ 6959600 h 6987302"/>
              <a:gd name="connsiteX8" fmla="*/ 3246124 w 4618358"/>
              <a:gd name="connsiteY8" fmla="*/ 6951980 h 6987302"/>
              <a:gd name="connsiteX9" fmla="*/ 2043434 w 4618358"/>
              <a:gd name="connsiteY9" fmla="*/ 6959600 h 6987302"/>
              <a:gd name="connsiteX10" fmla="*/ 1941834 w 4618358"/>
              <a:gd name="connsiteY10" fmla="*/ 6965950 h 6987302"/>
              <a:gd name="connsiteX11" fmla="*/ 38314 w 4618358"/>
              <a:gd name="connsiteY11" fmla="*/ 6965950 h 6987302"/>
              <a:gd name="connsiteX12" fmla="*/ 39216 w 4618358"/>
              <a:gd name="connsiteY12" fmla="*/ 1858436 h 6987302"/>
              <a:gd name="connsiteX13" fmla="*/ 1990788 w 4618358"/>
              <a:gd name="connsiteY13" fmla="*/ 6982360 h 6987302"/>
              <a:gd name="connsiteX14" fmla="*/ 2041054 w 4618358"/>
              <a:gd name="connsiteY14" fmla="*/ 6956425 h 6987302"/>
              <a:gd name="connsiteX15" fmla="*/ 21752 w 4618358"/>
              <a:gd name="connsiteY15" fmla="*/ 1629569 h 6987302"/>
              <a:gd name="connsiteX16" fmla="*/ 214 w 4618358"/>
              <a:gd name="connsiteY16" fmla="*/ 6350 h 6987302"/>
              <a:gd name="connsiteX0" fmla="*/ 214 w 4618358"/>
              <a:gd name="connsiteY0" fmla="*/ 6350 h 6982380"/>
              <a:gd name="connsiteX1" fmla="*/ 632939 w 4618358"/>
              <a:gd name="connsiteY1" fmla="*/ 0 h 6982380"/>
              <a:gd name="connsiteX2" fmla="*/ 3275334 w 4618358"/>
              <a:gd name="connsiteY2" fmla="*/ 6957060 h 6982380"/>
              <a:gd name="connsiteX3" fmla="*/ 3353439 w 4618358"/>
              <a:gd name="connsiteY3" fmla="*/ 6967537 h 6982380"/>
              <a:gd name="connsiteX4" fmla="*/ 716283 w 4618358"/>
              <a:gd name="connsiteY4" fmla="*/ 0 h 6982380"/>
              <a:gd name="connsiteX5" fmla="*/ 1954533 w 4618358"/>
              <a:gd name="connsiteY5" fmla="*/ 0 h 6982380"/>
              <a:gd name="connsiteX6" fmla="*/ 4618358 w 4618358"/>
              <a:gd name="connsiteY6" fmla="*/ 6972300 h 6982380"/>
              <a:gd name="connsiteX7" fmla="*/ 3357884 w 4618358"/>
              <a:gd name="connsiteY7" fmla="*/ 6959600 h 6982380"/>
              <a:gd name="connsiteX8" fmla="*/ 3246124 w 4618358"/>
              <a:gd name="connsiteY8" fmla="*/ 6951980 h 6982380"/>
              <a:gd name="connsiteX9" fmla="*/ 2043434 w 4618358"/>
              <a:gd name="connsiteY9" fmla="*/ 6959600 h 6982380"/>
              <a:gd name="connsiteX10" fmla="*/ 1941834 w 4618358"/>
              <a:gd name="connsiteY10" fmla="*/ 6965950 h 6982380"/>
              <a:gd name="connsiteX11" fmla="*/ 38314 w 4618358"/>
              <a:gd name="connsiteY11" fmla="*/ 6965950 h 6982380"/>
              <a:gd name="connsiteX12" fmla="*/ 39216 w 4618358"/>
              <a:gd name="connsiteY12" fmla="*/ 1858436 h 6982380"/>
              <a:gd name="connsiteX13" fmla="*/ 1990788 w 4618358"/>
              <a:gd name="connsiteY13" fmla="*/ 6982360 h 6982380"/>
              <a:gd name="connsiteX14" fmla="*/ 2041054 w 4618358"/>
              <a:gd name="connsiteY14" fmla="*/ 6956425 h 6982380"/>
              <a:gd name="connsiteX15" fmla="*/ 21752 w 4618358"/>
              <a:gd name="connsiteY15" fmla="*/ 1629569 h 6982380"/>
              <a:gd name="connsiteX16" fmla="*/ 214 w 4618358"/>
              <a:gd name="connsiteY16" fmla="*/ 6350 h 6982380"/>
              <a:gd name="connsiteX0" fmla="*/ 214 w 4618358"/>
              <a:gd name="connsiteY0" fmla="*/ 6350 h 6972855"/>
              <a:gd name="connsiteX1" fmla="*/ 632939 w 4618358"/>
              <a:gd name="connsiteY1" fmla="*/ 0 h 6972855"/>
              <a:gd name="connsiteX2" fmla="*/ 3275334 w 4618358"/>
              <a:gd name="connsiteY2" fmla="*/ 6957060 h 6972855"/>
              <a:gd name="connsiteX3" fmla="*/ 3353439 w 4618358"/>
              <a:gd name="connsiteY3" fmla="*/ 6967537 h 6972855"/>
              <a:gd name="connsiteX4" fmla="*/ 716283 w 4618358"/>
              <a:gd name="connsiteY4" fmla="*/ 0 h 6972855"/>
              <a:gd name="connsiteX5" fmla="*/ 1954533 w 4618358"/>
              <a:gd name="connsiteY5" fmla="*/ 0 h 6972855"/>
              <a:gd name="connsiteX6" fmla="*/ 4618358 w 4618358"/>
              <a:gd name="connsiteY6" fmla="*/ 6972300 h 6972855"/>
              <a:gd name="connsiteX7" fmla="*/ 3357884 w 4618358"/>
              <a:gd name="connsiteY7" fmla="*/ 6959600 h 6972855"/>
              <a:gd name="connsiteX8" fmla="*/ 3246124 w 4618358"/>
              <a:gd name="connsiteY8" fmla="*/ 6951980 h 6972855"/>
              <a:gd name="connsiteX9" fmla="*/ 2043434 w 4618358"/>
              <a:gd name="connsiteY9" fmla="*/ 6959600 h 6972855"/>
              <a:gd name="connsiteX10" fmla="*/ 1941834 w 4618358"/>
              <a:gd name="connsiteY10" fmla="*/ 6965950 h 6972855"/>
              <a:gd name="connsiteX11" fmla="*/ 38314 w 4618358"/>
              <a:gd name="connsiteY11" fmla="*/ 6965950 h 6972855"/>
              <a:gd name="connsiteX12" fmla="*/ 39216 w 4618358"/>
              <a:gd name="connsiteY12" fmla="*/ 1858436 h 6972855"/>
              <a:gd name="connsiteX13" fmla="*/ 1986026 w 4618358"/>
              <a:gd name="connsiteY13" fmla="*/ 6972835 h 6972855"/>
              <a:gd name="connsiteX14" fmla="*/ 2041054 w 4618358"/>
              <a:gd name="connsiteY14" fmla="*/ 6956425 h 6972855"/>
              <a:gd name="connsiteX15" fmla="*/ 21752 w 4618358"/>
              <a:gd name="connsiteY15" fmla="*/ 1629569 h 6972855"/>
              <a:gd name="connsiteX16" fmla="*/ 214 w 4618358"/>
              <a:gd name="connsiteY16" fmla="*/ 6350 h 6972855"/>
              <a:gd name="connsiteX0" fmla="*/ 214 w 4618358"/>
              <a:gd name="connsiteY0" fmla="*/ 6350 h 7346830"/>
              <a:gd name="connsiteX1" fmla="*/ 632939 w 4618358"/>
              <a:gd name="connsiteY1" fmla="*/ 0 h 7346830"/>
              <a:gd name="connsiteX2" fmla="*/ 3275334 w 4618358"/>
              <a:gd name="connsiteY2" fmla="*/ 6957060 h 7346830"/>
              <a:gd name="connsiteX3" fmla="*/ 3353439 w 4618358"/>
              <a:gd name="connsiteY3" fmla="*/ 6967537 h 7346830"/>
              <a:gd name="connsiteX4" fmla="*/ 716283 w 4618358"/>
              <a:gd name="connsiteY4" fmla="*/ 0 h 7346830"/>
              <a:gd name="connsiteX5" fmla="*/ 1954533 w 4618358"/>
              <a:gd name="connsiteY5" fmla="*/ 0 h 7346830"/>
              <a:gd name="connsiteX6" fmla="*/ 4618358 w 4618358"/>
              <a:gd name="connsiteY6" fmla="*/ 6972300 h 7346830"/>
              <a:gd name="connsiteX7" fmla="*/ 3357884 w 4618358"/>
              <a:gd name="connsiteY7" fmla="*/ 6959600 h 7346830"/>
              <a:gd name="connsiteX8" fmla="*/ 3246124 w 4618358"/>
              <a:gd name="connsiteY8" fmla="*/ 6951980 h 7346830"/>
              <a:gd name="connsiteX9" fmla="*/ 2043434 w 4618358"/>
              <a:gd name="connsiteY9" fmla="*/ 6959600 h 7346830"/>
              <a:gd name="connsiteX10" fmla="*/ 1941834 w 4618358"/>
              <a:gd name="connsiteY10" fmla="*/ 6965950 h 7346830"/>
              <a:gd name="connsiteX11" fmla="*/ 38314 w 4618358"/>
              <a:gd name="connsiteY11" fmla="*/ 6965950 h 7346830"/>
              <a:gd name="connsiteX12" fmla="*/ 39216 w 4618358"/>
              <a:gd name="connsiteY12" fmla="*/ 1860817 h 7346830"/>
              <a:gd name="connsiteX13" fmla="*/ 1986026 w 4618358"/>
              <a:gd name="connsiteY13" fmla="*/ 6972835 h 7346830"/>
              <a:gd name="connsiteX14" fmla="*/ 2041054 w 4618358"/>
              <a:gd name="connsiteY14" fmla="*/ 6956425 h 7346830"/>
              <a:gd name="connsiteX15" fmla="*/ 21752 w 4618358"/>
              <a:gd name="connsiteY15" fmla="*/ 1629569 h 7346830"/>
              <a:gd name="connsiteX16" fmla="*/ 214 w 4618358"/>
              <a:gd name="connsiteY16" fmla="*/ 6350 h 7346830"/>
              <a:gd name="connsiteX0" fmla="*/ 214 w 4618358"/>
              <a:gd name="connsiteY0" fmla="*/ 6350 h 6972835"/>
              <a:gd name="connsiteX1" fmla="*/ 632939 w 4618358"/>
              <a:gd name="connsiteY1" fmla="*/ 0 h 6972835"/>
              <a:gd name="connsiteX2" fmla="*/ 3275334 w 4618358"/>
              <a:gd name="connsiteY2" fmla="*/ 6957060 h 6972835"/>
              <a:gd name="connsiteX3" fmla="*/ 3353439 w 4618358"/>
              <a:gd name="connsiteY3" fmla="*/ 6967537 h 6972835"/>
              <a:gd name="connsiteX4" fmla="*/ 716283 w 4618358"/>
              <a:gd name="connsiteY4" fmla="*/ 0 h 6972835"/>
              <a:gd name="connsiteX5" fmla="*/ 1954533 w 4618358"/>
              <a:gd name="connsiteY5" fmla="*/ 0 h 6972835"/>
              <a:gd name="connsiteX6" fmla="*/ 4618358 w 4618358"/>
              <a:gd name="connsiteY6" fmla="*/ 6972300 h 6972835"/>
              <a:gd name="connsiteX7" fmla="*/ 3357884 w 4618358"/>
              <a:gd name="connsiteY7" fmla="*/ 6959600 h 6972835"/>
              <a:gd name="connsiteX8" fmla="*/ 3246124 w 4618358"/>
              <a:gd name="connsiteY8" fmla="*/ 6951980 h 6972835"/>
              <a:gd name="connsiteX9" fmla="*/ 2043434 w 4618358"/>
              <a:gd name="connsiteY9" fmla="*/ 6959600 h 6972835"/>
              <a:gd name="connsiteX10" fmla="*/ 1941834 w 4618358"/>
              <a:gd name="connsiteY10" fmla="*/ 6965950 h 6972835"/>
              <a:gd name="connsiteX11" fmla="*/ 38314 w 4618358"/>
              <a:gd name="connsiteY11" fmla="*/ 6965950 h 6972835"/>
              <a:gd name="connsiteX12" fmla="*/ 39216 w 4618358"/>
              <a:gd name="connsiteY12" fmla="*/ 1860817 h 6972835"/>
              <a:gd name="connsiteX13" fmla="*/ 1986026 w 4618358"/>
              <a:gd name="connsiteY13" fmla="*/ 6972835 h 6972835"/>
              <a:gd name="connsiteX14" fmla="*/ 2041054 w 4618358"/>
              <a:gd name="connsiteY14" fmla="*/ 6956425 h 6972835"/>
              <a:gd name="connsiteX15" fmla="*/ 21752 w 4618358"/>
              <a:gd name="connsiteY15" fmla="*/ 1629569 h 6972835"/>
              <a:gd name="connsiteX16" fmla="*/ 214 w 4618358"/>
              <a:gd name="connsiteY16" fmla="*/ 6350 h 6972835"/>
              <a:gd name="connsiteX0" fmla="*/ 214 w 4618358"/>
              <a:gd name="connsiteY0" fmla="*/ 6350 h 7346830"/>
              <a:gd name="connsiteX1" fmla="*/ 632939 w 4618358"/>
              <a:gd name="connsiteY1" fmla="*/ 0 h 7346830"/>
              <a:gd name="connsiteX2" fmla="*/ 3275334 w 4618358"/>
              <a:gd name="connsiteY2" fmla="*/ 6957060 h 7346830"/>
              <a:gd name="connsiteX3" fmla="*/ 3353439 w 4618358"/>
              <a:gd name="connsiteY3" fmla="*/ 6967537 h 7346830"/>
              <a:gd name="connsiteX4" fmla="*/ 716283 w 4618358"/>
              <a:gd name="connsiteY4" fmla="*/ 0 h 7346830"/>
              <a:gd name="connsiteX5" fmla="*/ 1954533 w 4618358"/>
              <a:gd name="connsiteY5" fmla="*/ 0 h 7346830"/>
              <a:gd name="connsiteX6" fmla="*/ 4618358 w 4618358"/>
              <a:gd name="connsiteY6" fmla="*/ 6972300 h 7346830"/>
              <a:gd name="connsiteX7" fmla="*/ 3357884 w 4618358"/>
              <a:gd name="connsiteY7" fmla="*/ 6959600 h 7346830"/>
              <a:gd name="connsiteX8" fmla="*/ 3246124 w 4618358"/>
              <a:gd name="connsiteY8" fmla="*/ 6951980 h 7346830"/>
              <a:gd name="connsiteX9" fmla="*/ 2043434 w 4618358"/>
              <a:gd name="connsiteY9" fmla="*/ 6959600 h 7346830"/>
              <a:gd name="connsiteX10" fmla="*/ 1941834 w 4618358"/>
              <a:gd name="connsiteY10" fmla="*/ 6965950 h 7346830"/>
              <a:gd name="connsiteX11" fmla="*/ 38314 w 4618358"/>
              <a:gd name="connsiteY11" fmla="*/ 6965950 h 7346830"/>
              <a:gd name="connsiteX12" fmla="*/ 29691 w 4618358"/>
              <a:gd name="connsiteY12" fmla="*/ 1860817 h 7346830"/>
              <a:gd name="connsiteX13" fmla="*/ 1986026 w 4618358"/>
              <a:gd name="connsiteY13" fmla="*/ 6972835 h 7346830"/>
              <a:gd name="connsiteX14" fmla="*/ 2041054 w 4618358"/>
              <a:gd name="connsiteY14" fmla="*/ 6956425 h 7346830"/>
              <a:gd name="connsiteX15" fmla="*/ 21752 w 4618358"/>
              <a:gd name="connsiteY15" fmla="*/ 1629569 h 7346830"/>
              <a:gd name="connsiteX16" fmla="*/ 214 w 4618358"/>
              <a:gd name="connsiteY16" fmla="*/ 6350 h 7346830"/>
              <a:gd name="connsiteX0" fmla="*/ 214 w 4618358"/>
              <a:gd name="connsiteY0" fmla="*/ 6350 h 7344465"/>
              <a:gd name="connsiteX1" fmla="*/ 632939 w 4618358"/>
              <a:gd name="connsiteY1" fmla="*/ 0 h 7344465"/>
              <a:gd name="connsiteX2" fmla="*/ 3275334 w 4618358"/>
              <a:gd name="connsiteY2" fmla="*/ 6957060 h 7344465"/>
              <a:gd name="connsiteX3" fmla="*/ 3353439 w 4618358"/>
              <a:gd name="connsiteY3" fmla="*/ 6967537 h 7344465"/>
              <a:gd name="connsiteX4" fmla="*/ 716283 w 4618358"/>
              <a:gd name="connsiteY4" fmla="*/ 0 h 7344465"/>
              <a:gd name="connsiteX5" fmla="*/ 1954533 w 4618358"/>
              <a:gd name="connsiteY5" fmla="*/ 0 h 7344465"/>
              <a:gd name="connsiteX6" fmla="*/ 4618358 w 4618358"/>
              <a:gd name="connsiteY6" fmla="*/ 6972300 h 7344465"/>
              <a:gd name="connsiteX7" fmla="*/ 3357884 w 4618358"/>
              <a:gd name="connsiteY7" fmla="*/ 6959600 h 7344465"/>
              <a:gd name="connsiteX8" fmla="*/ 3246124 w 4618358"/>
              <a:gd name="connsiteY8" fmla="*/ 6951980 h 7344465"/>
              <a:gd name="connsiteX9" fmla="*/ 2043434 w 4618358"/>
              <a:gd name="connsiteY9" fmla="*/ 6959600 h 7344465"/>
              <a:gd name="connsiteX10" fmla="*/ 1941834 w 4618358"/>
              <a:gd name="connsiteY10" fmla="*/ 6965950 h 7344465"/>
              <a:gd name="connsiteX11" fmla="*/ 38314 w 4618358"/>
              <a:gd name="connsiteY11" fmla="*/ 6965950 h 7344465"/>
              <a:gd name="connsiteX12" fmla="*/ 29691 w 4618358"/>
              <a:gd name="connsiteY12" fmla="*/ 1860817 h 7344465"/>
              <a:gd name="connsiteX13" fmla="*/ 1979676 w 4618358"/>
              <a:gd name="connsiteY13" fmla="*/ 6969660 h 7344465"/>
              <a:gd name="connsiteX14" fmla="*/ 2041054 w 4618358"/>
              <a:gd name="connsiteY14" fmla="*/ 6956425 h 7344465"/>
              <a:gd name="connsiteX15" fmla="*/ 21752 w 4618358"/>
              <a:gd name="connsiteY15" fmla="*/ 1629569 h 7344465"/>
              <a:gd name="connsiteX16" fmla="*/ 214 w 4618358"/>
              <a:gd name="connsiteY16" fmla="*/ 6350 h 7344465"/>
              <a:gd name="connsiteX0" fmla="*/ 214 w 4618358"/>
              <a:gd name="connsiteY0" fmla="*/ 6350 h 6979468"/>
              <a:gd name="connsiteX1" fmla="*/ 632939 w 4618358"/>
              <a:gd name="connsiteY1" fmla="*/ 0 h 6979468"/>
              <a:gd name="connsiteX2" fmla="*/ 3275334 w 4618358"/>
              <a:gd name="connsiteY2" fmla="*/ 6957060 h 6979468"/>
              <a:gd name="connsiteX3" fmla="*/ 3353439 w 4618358"/>
              <a:gd name="connsiteY3" fmla="*/ 6967537 h 6979468"/>
              <a:gd name="connsiteX4" fmla="*/ 716283 w 4618358"/>
              <a:gd name="connsiteY4" fmla="*/ 0 h 6979468"/>
              <a:gd name="connsiteX5" fmla="*/ 1954533 w 4618358"/>
              <a:gd name="connsiteY5" fmla="*/ 0 h 6979468"/>
              <a:gd name="connsiteX6" fmla="*/ 4618358 w 4618358"/>
              <a:gd name="connsiteY6" fmla="*/ 6972300 h 6979468"/>
              <a:gd name="connsiteX7" fmla="*/ 3357884 w 4618358"/>
              <a:gd name="connsiteY7" fmla="*/ 6959600 h 6979468"/>
              <a:gd name="connsiteX8" fmla="*/ 3246124 w 4618358"/>
              <a:gd name="connsiteY8" fmla="*/ 6951980 h 6979468"/>
              <a:gd name="connsiteX9" fmla="*/ 2043434 w 4618358"/>
              <a:gd name="connsiteY9" fmla="*/ 6959600 h 6979468"/>
              <a:gd name="connsiteX10" fmla="*/ 1941834 w 4618358"/>
              <a:gd name="connsiteY10" fmla="*/ 6965950 h 6979468"/>
              <a:gd name="connsiteX11" fmla="*/ 38314 w 4618358"/>
              <a:gd name="connsiteY11" fmla="*/ 6965950 h 6979468"/>
              <a:gd name="connsiteX12" fmla="*/ 29691 w 4618358"/>
              <a:gd name="connsiteY12" fmla="*/ 1860817 h 6979468"/>
              <a:gd name="connsiteX13" fmla="*/ 1979676 w 4618358"/>
              <a:gd name="connsiteY13" fmla="*/ 6969660 h 6979468"/>
              <a:gd name="connsiteX14" fmla="*/ 2041054 w 4618358"/>
              <a:gd name="connsiteY14" fmla="*/ 6956425 h 6979468"/>
              <a:gd name="connsiteX15" fmla="*/ 21752 w 4618358"/>
              <a:gd name="connsiteY15" fmla="*/ 1629569 h 6979468"/>
              <a:gd name="connsiteX16" fmla="*/ 214 w 4618358"/>
              <a:gd name="connsiteY16" fmla="*/ 6350 h 6979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8358" h="6979468">
                <a:moveTo>
                  <a:pt x="214" y="6350"/>
                </a:moveTo>
                <a:lnTo>
                  <a:pt x="632939" y="0"/>
                </a:lnTo>
                <a:lnTo>
                  <a:pt x="3275334" y="6957060"/>
                </a:lnTo>
                <a:lnTo>
                  <a:pt x="3353439" y="6967537"/>
                </a:lnTo>
                <a:lnTo>
                  <a:pt x="716283" y="0"/>
                </a:lnTo>
                <a:lnTo>
                  <a:pt x="1954533" y="0"/>
                </a:lnTo>
                <a:lnTo>
                  <a:pt x="4618358" y="6972300"/>
                </a:lnTo>
                <a:lnTo>
                  <a:pt x="3357884" y="6959600"/>
                </a:lnTo>
                <a:lnTo>
                  <a:pt x="3246124" y="6951980"/>
                </a:lnTo>
                <a:lnTo>
                  <a:pt x="2043434" y="6959600"/>
                </a:lnTo>
                <a:lnTo>
                  <a:pt x="1941834" y="6965950"/>
                </a:lnTo>
                <a:lnTo>
                  <a:pt x="38314" y="6965950"/>
                </a:lnTo>
                <a:cubicBezTo>
                  <a:pt x="44664" y="6792383"/>
                  <a:pt x="25704" y="1869812"/>
                  <a:pt x="29691" y="1860817"/>
                </a:cubicBezTo>
                <a:cubicBezTo>
                  <a:pt x="33678" y="1866109"/>
                  <a:pt x="1961949" y="6942717"/>
                  <a:pt x="1979676" y="6969660"/>
                </a:cubicBezTo>
                <a:cubicBezTo>
                  <a:pt x="1997403" y="6996603"/>
                  <a:pt x="2041583" y="6959864"/>
                  <a:pt x="2041054" y="6956425"/>
                </a:cubicBezTo>
                <a:cubicBezTo>
                  <a:pt x="2045287" y="6898217"/>
                  <a:pt x="14626" y="1635390"/>
                  <a:pt x="21752" y="1629569"/>
                </a:cubicBezTo>
                <a:cubicBezTo>
                  <a:pt x="19600" y="1632744"/>
                  <a:pt x="-2396" y="546100"/>
                  <a:pt x="214" y="6350"/>
                </a:cubicBezTo>
                <a:close/>
              </a:path>
            </a:pathLst>
          </a:custGeom>
          <a:solidFill>
            <a:schemeClr val="bg1">
              <a:lumMod val="65000"/>
            </a:schemeClr>
          </a:solidFill>
        </p:spPr>
        <p:txBody>
          <a:bodyPr lIns="684000" tIns="3096000"/>
          <a:lstStyle>
            <a:lvl1pPr>
              <a:defRPr sz="1200" b="1">
                <a:solidFill>
                  <a:schemeClr val="tx1"/>
                </a:solidFill>
              </a:defRPr>
            </a:lvl1pPr>
          </a:lstStyle>
          <a:p>
            <a:r>
              <a:rPr lang="en-AU" dirty="0"/>
              <a:t>               Picture</a:t>
            </a:r>
            <a:endParaRPr lang="en-US" dirty="0"/>
          </a:p>
        </p:txBody>
      </p:sp>
      <p:sp>
        <p:nvSpPr>
          <p:cNvPr id="7" name="Text Placeholder 26"/>
          <p:cNvSpPr>
            <a:spLocks noGrp="1"/>
          </p:cNvSpPr>
          <p:nvPr>
            <p:ph type="body" sz="quarter" idx="11"/>
          </p:nvPr>
        </p:nvSpPr>
        <p:spPr>
          <a:xfrm>
            <a:off x="4479359" y="3859468"/>
            <a:ext cx="4354126" cy="677333"/>
          </a:xfrm>
          <a:prstGeom prst="rect">
            <a:avLst/>
          </a:prstGeom>
        </p:spPr>
        <p:txBody>
          <a:bodyPr lIns="0" tIns="0" rIns="0" bIns="0">
            <a:noAutofit/>
          </a:bodyPr>
          <a:lstStyle>
            <a:lvl1pPr>
              <a:spcBef>
                <a:spcPts val="0"/>
              </a:spcBef>
              <a:spcAft>
                <a:spcPts val="0"/>
              </a:spcAft>
              <a:defRPr sz="1000">
                <a:solidFill>
                  <a:schemeClr val="tx1"/>
                </a:solidFill>
              </a:defRPr>
            </a:lvl1pPr>
          </a:lstStyle>
          <a:p>
            <a:pPr lvl="0"/>
            <a:r>
              <a:rPr lang="en-US" dirty="0"/>
              <a:t>Click to edit Master text styles</a:t>
            </a:r>
          </a:p>
        </p:txBody>
      </p:sp>
      <p:sp>
        <p:nvSpPr>
          <p:cNvPr id="8" name="Title 28"/>
          <p:cNvSpPr>
            <a:spLocks noGrp="1"/>
          </p:cNvSpPr>
          <p:nvPr>
            <p:ph type="title"/>
          </p:nvPr>
        </p:nvSpPr>
        <p:spPr>
          <a:xfrm>
            <a:off x="4479359" y="1229919"/>
            <a:ext cx="4343012" cy="1711401"/>
          </a:xfrm>
        </p:spPr>
        <p:txBody>
          <a:bodyPr>
            <a:noAutofit/>
          </a:bodyPr>
          <a:lstStyle>
            <a:lvl1pPr>
              <a:lnSpc>
                <a:spcPts val="2800"/>
              </a:lnSpc>
              <a:defRPr sz="2800">
                <a:solidFill>
                  <a:schemeClr val="tx1"/>
                </a:solidFill>
              </a:defRPr>
            </a:lvl1pPr>
          </a:lstStyle>
          <a:p>
            <a:r>
              <a:rPr lang="en-US" dirty="0"/>
              <a:t>Click to edit Master title style</a:t>
            </a:r>
          </a:p>
        </p:txBody>
      </p:sp>
      <p:sp>
        <p:nvSpPr>
          <p:cNvPr id="9" name="Text Placeholder 32"/>
          <p:cNvSpPr>
            <a:spLocks noGrp="1"/>
          </p:cNvSpPr>
          <p:nvPr>
            <p:ph type="body" sz="quarter" idx="13"/>
          </p:nvPr>
        </p:nvSpPr>
        <p:spPr>
          <a:xfrm>
            <a:off x="4479359" y="3165203"/>
            <a:ext cx="4327774" cy="601133"/>
          </a:xfrm>
          <a:prstGeom prst="rect">
            <a:avLst/>
          </a:prstGeom>
        </p:spPr>
        <p:txBody>
          <a:bodyPr lIns="0" tIns="0" rIns="0" bIns="0">
            <a:noAutofit/>
          </a:bodyPr>
          <a:lstStyle>
            <a:lvl1pPr>
              <a:defRPr>
                <a:solidFill>
                  <a:schemeClr val="tx1"/>
                </a:solidFill>
              </a:defRPr>
            </a:lvl1pPr>
          </a:lstStyle>
          <a:p>
            <a:pPr lvl="0"/>
            <a:r>
              <a:rPr lang="en-US" dirty="0"/>
              <a:t>Click to edit Master text styles</a:t>
            </a:r>
          </a:p>
        </p:txBody>
      </p:sp>
      <p:sp>
        <p:nvSpPr>
          <p:cNvPr id="12" name="Picture Placeholder 6"/>
          <p:cNvSpPr>
            <a:spLocks noGrp="1"/>
          </p:cNvSpPr>
          <p:nvPr>
            <p:ph type="pic" sz="quarter" idx="18" hasCustomPrompt="1"/>
          </p:nvPr>
        </p:nvSpPr>
        <p:spPr>
          <a:xfrm>
            <a:off x="7448550" y="5048250"/>
            <a:ext cx="1397000" cy="523478"/>
          </a:xfrm>
        </p:spPr>
        <p:txBody>
          <a:bodyPr/>
          <a:lstStyle>
            <a:lvl1pPr algn="ctr">
              <a:defRPr sz="800" b="1"/>
            </a:lvl1pPr>
          </a:lstStyle>
          <a:p>
            <a:r>
              <a:rPr lang="en-AU" dirty="0"/>
              <a:t>Client logo</a:t>
            </a:r>
            <a:endParaRPr lang="en-US" dirty="0"/>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74996" y="5121967"/>
            <a:ext cx="1304448" cy="449761"/>
          </a:xfrm>
          <a:prstGeom prst="rect">
            <a:avLst/>
          </a:prstGeom>
          <a:noFill/>
          <a:ln>
            <a:noFill/>
          </a:ln>
        </p:spPr>
      </p:pic>
      <p:sp>
        <p:nvSpPr>
          <p:cNvPr id="14" name="Date Placeholder 3"/>
          <p:cNvSpPr txBox="1">
            <a:spLocks/>
          </p:cNvSpPr>
          <p:nvPr userDrawn="1"/>
        </p:nvSpPr>
        <p:spPr>
          <a:xfrm>
            <a:off x="4509940" y="6081213"/>
            <a:ext cx="1269504" cy="216024"/>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900" dirty="0">
                <a:solidFill>
                  <a:schemeClr val="tx1"/>
                </a:solidFill>
                <a:latin typeface="Segoe UI" panose="020B0502040204020203" pitchFamily="34" charset="0"/>
                <a:ea typeface="Segoe UI" panose="020B0502040204020203" pitchFamily="34" charset="0"/>
                <a:cs typeface="Segoe UI" panose="020B0502040204020203" pitchFamily="34" charset="0"/>
              </a:rPr>
              <a:t>www.</a:t>
            </a:r>
            <a:r>
              <a:rPr lang="en-AU" sz="900" b="1" dirty="0">
                <a:solidFill>
                  <a:schemeClr val="tx1"/>
                </a:solidFill>
                <a:latin typeface="Segoe UI" panose="020B0502040204020203" pitchFamily="34" charset="0"/>
                <a:ea typeface="Segoe UI" panose="020B0502040204020203" pitchFamily="34" charset="0"/>
                <a:cs typeface="Segoe UI" panose="020B0502040204020203" pitchFamily="34" charset="0"/>
              </a:rPr>
              <a:t>advisian</a:t>
            </a:r>
            <a:r>
              <a:rPr lang="en-AU" sz="900" dirty="0">
                <a:solidFill>
                  <a:schemeClr val="tx1"/>
                </a:solidFill>
                <a:latin typeface="Segoe UI" panose="020B0502040204020203" pitchFamily="34" charset="0"/>
                <a:ea typeface="Segoe UI" panose="020B0502040204020203" pitchFamily="34" charset="0"/>
                <a:cs typeface="Segoe UI" panose="020B0502040204020203" pitchFamily="34" charset="0"/>
              </a:rPr>
              <a:t>.com</a:t>
            </a:r>
          </a:p>
        </p:txBody>
      </p:sp>
    </p:spTree>
    <p:extLst>
      <p:ext uri="{BB962C8B-B14F-4D97-AF65-F5344CB8AC3E}">
        <p14:creationId xmlns:p14="http://schemas.microsoft.com/office/powerpoint/2010/main" val="4016418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3_Cover with image white">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7"/>
          </p:nvPr>
        </p:nvSpPr>
        <p:spPr>
          <a:xfrm>
            <a:off x="-99060" y="-82550"/>
            <a:ext cx="4039870" cy="7056608"/>
          </a:xfrm>
          <a:custGeom>
            <a:avLst/>
            <a:gdLst>
              <a:gd name="connsiteX0" fmla="*/ 0 w 5271134"/>
              <a:gd name="connsiteY0" fmla="*/ 0 h 7000876"/>
              <a:gd name="connsiteX1" fmla="*/ 5271134 w 5271134"/>
              <a:gd name="connsiteY1" fmla="*/ 0 h 7000876"/>
              <a:gd name="connsiteX2" fmla="*/ 5271134 w 5271134"/>
              <a:gd name="connsiteY2" fmla="*/ 7000876 h 7000876"/>
              <a:gd name="connsiteX3" fmla="*/ 0 w 5271134"/>
              <a:gd name="connsiteY3" fmla="*/ 7000876 h 7000876"/>
              <a:gd name="connsiteX4" fmla="*/ 0 w 5271134"/>
              <a:gd name="connsiteY4" fmla="*/ 0 h 7000876"/>
              <a:gd name="connsiteX0" fmla="*/ 0 w 5271134"/>
              <a:gd name="connsiteY0" fmla="*/ 0 h 7002780"/>
              <a:gd name="connsiteX1" fmla="*/ 5271134 w 5271134"/>
              <a:gd name="connsiteY1" fmla="*/ 0 h 7002780"/>
              <a:gd name="connsiteX2" fmla="*/ 5271134 w 5271134"/>
              <a:gd name="connsiteY2" fmla="*/ 7000876 h 7002780"/>
              <a:gd name="connsiteX3" fmla="*/ 2619374 w 5271134"/>
              <a:gd name="connsiteY3" fmla="*/ 7002780 h 7002780"/>
              <a:gd name="connsiteX4" fmla="*/ 0 w 5271134"/>
              <a:gd name="connsiteY4" fmla="*/ 7000876 h 7002780"/>
              <a:gd name="connsiteX5" fmla="*/ 0 w 5271134"/>
              <a:gd name="connsiteY5" fmla="*/ 0 h 7002780"/>
              <a:gd name="connsiteX0" fmla="*/ 0 w 5271134"/>
              <a:gd name="connsiteY0" fmla="*/ 0 h 7002780"/>
              <a:gd name="connsiteX1" fmla="*/ 5271134 w 5271134"/>
              <a:gd name="connsiteY1" fmla="*/ 0 h 7002780"/>
              <a:gd name="connsiteX2" fmla="*/ 2619374 w 5271134"/>
              <a:gd name="connsiteY2" fmla="*/ 7002780 h 7002780"/>
              <a:gd name="connsiteX3" fmla="*/ 0 w 5271134"/>
              <a:gd name="connsiteY3" fmla="*/ 7000876 h 7002780"/>
              <a:gd name="connsiteX4" fmla="*/ 0 w 5271134"/>
              <a:gd name="connsiteY4" fmla="*/ 0 h 7002780"/>
              <a:gd name="connsiteX0" fmla="*/ 0 w 5271134"/>
              <a:gd name="connsiteY0" fmla="*/ 5862 h 7008642"/>
              <a:gd name="connsiteX1" fmla="*/ 3985601 w 5271134"/>
              <a:gd name="connsiteY1" fmla="*/ 0 h 7008642"/>
              <a:gd name="connsiteX2" fmla="*/ 5271134 w 5271134"/>
              <a:gd name="connsiteY2" fmla="*/ 5862 h 7008642"/>
              <a:gd name="connsiteX3" fmla="*/ 2619374 w 5271134"/>
              <a:gd name="connsiteY3" fmla="*/ 7008642 h 7008642"/>
              <a:gd name="connsiteX4" fmla="*/ 0 w 5271134"/>
              <a:gd name="connsiteY4" fmla="*/ 7006738 h 7008642"/>
              <a:gd name="connsiteX5" fmla="*/ 0 w 5271134"/>
              <a:gd name="connsiteY5" fmla="*/ 5862 h 7008642"/>
              <a:gd name="connsiteX0" fmla="*/ 0 w 5271134"/>
              <a:gd name="connsiteY0" fmla="*/ 5862 h 7008642"/>
              <a:gd name="connsiteX1" fmla="*/ 3921124 w 5271134"/>
              <a:gd name="connsiteY1" fmla="*/ 0 h 7008642"/>
              <a:gd name="connsiteX2" fmla="*/ 3985601 w 5271134"/>
              <a:gd name="connsiteY2" fmla="*/ 0 h 7008642"/>
              <a:gd name="connsiteX3" fmla="*/ 5271134 w 5271134"/>
              <a:gd name="connsiteY3" fmla="*/ 5862 h 7008642"/>
              <a:gd name="connsiteX4" fmla="*/ 2619374 w 5271134"/>
              <a:gd name="connsiteY4" fmla="*/ 7008642 h 7008642"/>
              <a:gd name="connsiteX5" fmla="*/ 0 w 5271134"/>
              <a:gd name="connsiteY5" fmla="*/ 7006738 h 7008642"/>
              <a:gd name="connsiteX6" fmla="*/ 0 w 5271134"/>
              <a:gd name="connsiteY6" fmla="*/ 5862 h 7008642"/>
              <a:gd name="connsiteX0" fmla="*/ 0 w 5271134"/>
              <a:gd name="connsiteY0" fmla="*/ 5862 h 7008642"/>
              <a:gd name="connsiteX1" fmla="*/ 3885405 w 5271134"/>
              <a:gd name="connsiteY1" fmla="*/ 1099 h 7008642"/>
              <a:gd name="connsiteX2" fmla="*/ 3921124 w 5271134"/>
              <a:gd name="connsiteY2" fmla="*/ 0 h 7008642"/>
              <a:gd name="connsiteX3" fmla="*/ 3985601 w 5271134"/>
              <a:gd name="connsiteY3" fmla="*/ 0 h 7008642"/>
              <a:gd name="connsiteX4" fmla="*/ 5271134 w 5271134"/>
              <a:gd name="connsiteY4" fmla="*/ 5862 h 7008642"/>
              <a:gd name="connsiteX5" fmla="*/ 2619374 w 5271134"/>
              <a:gd name="connsiteY5" fmla="*/ 7008642 h 7008642"/>
              <a:gd name="connsiteX6" fmla="*/ 0 w 5271134"/>
              <a:gd name="connsiteY6" fmla="*/ 7006738 h 7008642"/>
              <a:gd name="connsiteX7" fmla="*/ 0 w 5271134"/>
              <a:gd name="connsiteY7" fmla="*/ 5862 h 7008642"/>
              <a:gd name="connsiteX0" fmla="*/ 0 w 5271134"/>
              <a:gd name="connsiteY0" fmla="*/ 5862 h 7056120"/>
              <a:gd name="connsiteX1" fmla="*/ 3885405 w 5271134"/>
              <a:gd name="connsiteY1" fmla="*/ 1099 h 7056120"/>
              <a:gd name="connsiteX2" fmla="*/ 1299844 w 5271134"/>
              <a:gd name="connsiteY2" fmla="*/ 7056120 h 7056120"/>
              <a:gd name="connsiteX3" fmla="*/ 3985601 w 5271134"/>
              <a:gd name="connsiteY3" fmla="*/ 0 h 7056120"/>
              <a:gd name="connsiteX4" fmla="*/ 5271134 w 5271134"/>
              <a:gd name="connsiteY4" fmla="*/ 5862 h 7056120"/>
              <a:gd name="connsiteX5" fmla="*/ 2619374 w 5271134"/>
              <a:gd name="connsiteY5" fmla="*/ 7008642 h 7056120"/>
              <a:gd name="connsiteX6" fmla="*/ 0 w 5271134"/>
              <a:gd name="connsiteY6" fmla="*/ 7006738 h 7056120"/>
              <a:gd name="connsiteX7" fmla="*/ 0 w 5271134"/>
              <a:gd name="connsiteY7" fmla="*/ 5862 h 7056120"/>
              <a:gd name="connsiteX0" fmla="*/ 0 w 5271134"/>
              <a:gd name="connsiteY0" fmla="*/ 5862 h 7056120"/>
              <a:gd name="connsiteX1" fmla="*/ 3885405 w 5271134"/>
              <a:gd name="connsiteY1" fmla="*/ 1099 h 7056120"/>
              <a:gd name="connsiteX2" fmla="*/ 3799204 w 5271134"/>
              <a:gd name="connsiteY2" fmla="*/ 234462 h 7056120"/>
              <a:gd name="connsiteX3" fmla="*/ 1299844 w 5271134"/>
              <a:gd name="connsiteY3" fmla="*/ 7056120 h 7056120"/>
              <a:gd name="connsiteX4" fmla="*/ 3985601 w 5271134"/>
              <a:gd name="connsiteY4" fmla="*/ 0 h 7056120"/>
              <a:gd name="connsiteX5" fmla="*/ 5271134 w 5271134"/>
              <a:gd name="connsiteY5" fmla="*/ 5862 h 7056120"/>
              <a:gd name="connsiteX6" fmla="*/ 2619374 w 5271134"/>
              <a:gd name="connsiteY6" fmla="*/ 7008642 h 7056120"/>
              <a:gd name="connsiteX7" fmla="*/ 0 w 5271134"/>
              <a:gd name="connsiteY7" fmla="*/ 7006738 h 7056120"/>
              <a:gd name="connsiteX8" fmla="*/ 0 w 5271134"/>
              <a:gd name="connsiteY8" fmla="*/ 5862 h 7056120"/>
              <a:gd name="connsiteX0" fmla="*/ 0 w 5271134"/>
              <a:gd name="connsiteY0" fmla="*/ 5862 h 7056120"/>
              <a:gd name="connsiteX1" fmla="*/ 3885405 w 5271134"/>
              <a:gd name="connsiteY1" fmla="*/ 1099 h 7056120"/>
              <a:gd name="connsiteX2" fmla="*/ 1208404 w 5271134"/>
              <a:gd name="connsiteY2" fmla="*/ 7046742 h 7056120"/>
              <a:gd name="connsiteX3" fmla="*/ 1299844 w 5271134"/>
              <a:gd name="connsiteY3" fmla="*/ 7056120 h 7056120"/>
              <a:gd name="connsiteX4" fmla="*/ 3985601 w 5271134"/>
              <a:gd name="connsiteY4" fmla="*/ 0 h 7056120"/>
              <a:gd name="connsiteX5" fmla="*/ 5271134 w 5271134"/>
              <a:gd name="connsiteY5" fmla="*/ 5862 h 7056120"/>
              <a:gd name="connsiteX6" fmla="*/ 2619374 w 5271134"/>
              <a:gd name="connsiteY6" fmla="*/ 7008642 h 7056120"/>
              <a:gd name="connsiteX7" fmla="*/ 0 w 5271134"/>
              <a:gd name="connsiteY7" fmla="*/ 7006738 h 7056120"/>
              <a:gd name="connsiteX8" fmla="*/ 0 w 5271134"/>
              <a:gd name="connsiteY8" fmla="*/ 5862 h 7056120"/>
              <a:gd name="connsiteX0" fmla="*/ 0 w 5271134"/>
              <a:gd name="connsiteY0" fmla="*/ 5862 h 7056120"/>
              <a:gd name="connsiteX1" fmla="*/ 3908265 w 5271134"/>
              <a:gd name="connsiteY1" fmla="*/ 8719 h 7056120"/>
              <a:gd name="connsiteX2" fmla="*/ 1208404 w 5271134"/>
              <a:gd name="connsiteY2" fmla="*/ 7046742 h 7056120"/>
              <a:gd name="connsiteX3" fmla="*/ 1299844 w 5271134"/>
              <a:gd name="connsiteY3" fmla="*/ 7056120 h 7056120"/>
              <a:gd name="connsiteX4" fmla="*/ 3985601 w 5271134"/>
              <a:gd name="connsiteY4" fmla="*/ 0 h 7056120"/>
              <a:gd name="connsiteX5" fmla="*/ 5271134 w 5271134"/>
              <a:gd name="connsiteY5" fmla="*/ 5862 h 7056120"/>
              <a:gd name="connsiteX6" fmla="*/ 2619374 w 5271134"/>
              <a:gd name="connsiteY6" fmla="*/ 7008642 h 7056120"/>
              <a:gd name="connsiteX7" fmla="*/ 0 w 5271134"/>
              <a:gd name="connsiteY7" fmla="*/ 7006738 h 7056120"/>
              <a:gd name="connsiteX8" fmla="*/ 0 w 5271134"/>
              <a:gd name="connsiteY8" fmla="*/ 5862 h 7056120"/>
              <a:gd name="connsiteX0" fmla="*/ 0 w 5271134"/>
              <a:gd name="connsiteY0" fmla="*/ 5862 h 7056120"/>
              <a:gd name="connsiteX1" fmla="*/ 3908265 w 5271134"/>
              <a:gd name="connsiteY1" fmla="*/ 8719 h 7056120"/>
              <a:gd name="connsiteX2" fmla="*/ 1231264 w 5271134"/>
              <a:gd name="connsiteY2" fmla="*/ 7046742 h 7056120"/>
              <a:gd name="connsiteX3" fmla="*/ 1299844 w 5271134"/>
              <a:gd name="connsiteY3" fmla="*/ 7056120 h 7056120"/>
              <a:gd name="connsiteX4" fmla="*/ 3985601 w 5271134"/>
              <a:gd name="connsiteY4" fmla="*/ 0 h 7056120"/>
              <a:gd name="connsiteX5" fmla="*/ 5271134 w 5271134"/>
              <a:gd name="connsiteY5" fmla="*/ 5862 h 7056120"/>
              <a:gd name="connsiteX6" fmla="*/ 2619374 w 5271134"/>
              <a:gd name="connsiteY6" fmla="*/ 7008642 h 7056120"/>
              <a:gd name="connsiteX7" fmla="*/ 0 w 5271134"/>
              <a:gd name="connsiteY7" fmla="*/ 7006738 h 7056120"/>
              <a:gd name="connsiteX8" fmla="*/ 0 w 5271134"/>
              <a:gd name="connsiteY8" fmla="*/ 5862 h 7056120"/>
              <a:gd name="connsiteX0" fmla="*/ 0 w 5271134"/>
              <a:gd name="connsiteY0" fmla="*/ 6350 h 7056608"/>
              <a:gd name="connsiteX1" fmla="*/ 2670174 w 5271134"/>
              <a:gd name="connsiteY1" fmla="*/ 0 h 7056608"/>
              <a:gd name="connsiteX2" fmla="*/ 3908265 w 5271134"/>
              <a:gd name="connsiteY2" fmla="*/ 9207 h 7056608"/>
              <a:gd name="connsiteX3" fmla="*/ 1231264 w 5271134"/>
              <a:gd name="connsiteY3" fmla="*/ 7047230 h 7056608"/>
              <a:gd name="connsiteX4" fmla="*/ 1299844 w 5271134"/>
              <a:gd name="connsiteY4" fmla="*/ 7056608 h 7056608"/>
              <a:gd name="connsiteX5" fmla="*/ 3985601 w 5271134"/>
              <a:gd name="connsiteY5" fmla="*/ 488 h 7056608"/>
              <a:gd name="connsiteX6" fmla="*/ 5271134 w 5271134"/>
              <a:gd name="connsiteY6" fmla="*/ 6350 h 7056608"/>
              <a:gd name="connsiteX7" fmla="*/ 2619374 w 5271134"/>
              <a:gd name="connsiteY7" fmla="*/ 7009130 h 7056608"/>
              <a:gd name="connsiteX8" fmla="*/ 0 w 5271134"/>
              <a:gd name="connsiteY8" fmla="*/ 7007226 h 7056608"/>
              <a:gd name="connsiteX9" fmla="*/ 0 w 5271134"/>
              <a:gd name="connsiteY9" fmla="*/ 6350 h 7056608"/>
              <a:gd name="connsiteX0" fmla="*/ 0 w 5271134"/>
              <a:gd name="connsiteY0" fmla="*/ 6350 h 7056608"/>
              <a:gd name="connsiteX1" fmla="*/ 2581274 w 5271134"/>
              <a:gd name="connsiteY1" fmla="*/ 0 h 7056608"/>
              <a:gd name="connsiteX2" fmla="*/ 2670174 w 5271134"/>
              <a:gd name="connsiteY2" fmla="*/ 0 h 7056608"/>
              <a:gd name="connsiteX3" fmla="*/ 3908265 w 5271134"/>
              <a:gd name="connsiteY3" fmla="*/ 9207 h 7056608"/>
              <a:gd name="connsiteX4" fmla="*/ 1231264 w 5271134"/>
              <a:gd name="connsiteY4" fmla="*/ 7047230 h 7056608"/>
              <a:gd name="connsiteX5" fmla="*/ 1299844 w 5271134"/>
              <a:gd name="connsiteY5" fmla="*/ 7056608 h 7056608"/>
              <a:gd name="connsiteX6" fmla="*/ 3985601 w 5271134"/>
              <a:gd name="connsiteY6" fmla="*/ 488 h 7056608"/>
              <a:gd name="connsiteX7" fmla="*/ 5271134 w 5271134"/>
              <a:gd name="connsiteY7" fmla="*/ 6350 h 7056608"/>
              <a:gd name="connsiteX8" fmla="*/ 2619374 w 5271134"/>
              <a:gd name="connsiteY8" fmla="*/ 7009130 h 7056608"/>
              <a:gd name="connsiteX9" fmla="*/ 0 w 5271134"/>
              <a:gd name="connsiteY9" fmla="*/ 7007226 h 7056608"/>
              <a:gd name="connsiteX10" fmla="*/ 0 w 5271134"/>
              <a:gd name="connsiteY10" fmla="*/ 6350 h 7056608"/>
              <a:gd name="connsiteX0" fmla="*/ 1244600 w 5271134"/>
              <a:gd name="connsiteY0" fmla="*/ 6350 h 7056608"/>
              <a:gd name="connsiteX1" fmla="*/ 2581274 w 5271134"/>
              <a:gd name="connsiteY1" fmla="*/ 0 h 7056608"/>
              <a:gd name="connsiteX2" fmla="*/ 2670174 w 5271134"/>
              <a:gd name="connsiteY2" fmla="*/ 0 h 7056608"/>
              <a:gd name="connsiteX3" fmla="*/ 3908265 w 5271134"/>
              <a:gd name="connsiteY3" fmla="*/ 9207 h 7056608"/>
              <a:gd name="connsiteX4" fmla="*/ 1231264 w 5271134"/>
              <a:gd name="connsiteY4" fmla="*/ 7047230 h 7056608"/>
              <a:gd name="connsiteX5" fmla="*/ 1299844 w 5271134"/>
              <a:gd name="connsiteY5" fmla="*/ 7056608 h 7056608"/>
              <a:gd name="connsiteX6" fmla="*/ 3985601 w 5271134"/>
              <a:gd name="connsiteY6" fmla="*/ 488 h 7056608"/>
              <a:gd name="connsiteX7" fmla="*/ 5271134 w 5271134"/>
              <a:gd name="connsiteY7" fmla="*/ 6350 h 7056608"/>
              <a:gd name="connsiteX8" fmla="*/ 2619374 w 5271134"/>
              <a:gd name="connsiteY8" fmla="*/ 7009130 h 7056608"/>
              <a:gd name="connsiteX9" fmla="*/ 0 w 5271134"/>
              <a:gd name="connsiteY9" fmla="*/ 7007226 h 7056608"/>
              <a:gd name="connsiteX10" fmla="*/ 1244600 w 5271134"/>
              <a:gd name="connsiteY10" fmla="*/ 6350 h 7056608"/>
              <a:gd name="connsiteX0" fmla="*/ 13336 w 4039870"/>
              <a:gd name="connsiteY0" fmla="*/ 6350 h 7056608"/>
              <a:gd name="connsiteX1" fmla="*/ 1350010 w 4039870"/>
              <a:gd name="connsiteY1" fmla="*/ 0 h 7056608"/>
              <a:gd name="connsiteX2" fmla="*/ 1438910 w 4039870"/>
              <a:gd name="connsiteY2" fmla="*/ 0 h 7056608"/>
              <a:gd name="connsiteX3" fmla="*/ 2677001 w 4039870"/>
              <a:gd name="connsiteY3" fmla="*/ 9207 h 7056608"/>
              <a:gd name="connsiteX4" fmla="*/ 0 w 4039870"/>
              <a:gd name="connsiteY4" fmla="*/ 7047230 h 7056608"/>
              <a:gd name="connsiteX5" fmla="*/ 68580 w 4039870"/>
              <a:gd name="connsiteY5" fmla="*/ 7056608 h 7056608"/>
              <a:gd name="connsiteX6" fmla="*/ 2754337 w 4039870"/>
              <a:gd name="connsiteY6" fmla="*/ 488 h 7056608"/>
              <a:gd name="connsiteX7" fmla="*/ 4039870 w 4039870"/>
              <a:gd name="connsiteY7" fmla="*/ 6350 h 7056608"/>
              <a:gd name="connsiteX8" fmla="*/ 1388110 w 4039870"/>
              <a:gd name="connsiteY8" fmla="*/ 7009130 h 7056608"/>
              <a:gd name="connsiteX9" fmla="*/ 32386 w 4039870"/>
              <a:gd name="connsiteY9" fmla="*/ 7013576 h 7056608"/>
              <a:gd name="connsiteX10" fmla="*/ 13336 w 4039870"/>
              <a:gd name="connsiteY10" fmla="*/ 6350 h 7056608"/>
              <a:gd name="connsiteX0" fmla="*/ 13336 w 4039870"/>
              <a:gd name="connsiteY0" fmla="*/ 9525 h 7059783"/>
              <a:gd name="connsiteX1" fmla="*/ 1350010 w 4039870"/>
              <a:gd name="connsiteY1" fmla="*/ 3175 h 7059783"/>
              <a:gd name="connsiteX2" fmla="*/ 1400810 w 4039870"/>
              <a:gd name="connsiteY2" fmla="*/ 0 h 7059783"/>
              <a:gd name="connsiteX3" fmla="*/ 1438910 w 4039870"/>
              <a:gd name="connsiteY3" fmla="*/ 3175 h 7059783"/>
              <a:gd name="connsiteX4" fmla="*/ 2677001 w 4039870"/>
              <a:gd name="connsiteY4" fmla="*/ 12382 h 7059783"/>
              <a:gd name="connsiteX5" fmla="*/ 0 w 4039870"/>
              <a:gd name="connsiteY5" fmla="*/ 7050405 h 7059783"/>
              <a:gd name="connsiteX6" fmla="*/ 68580 w 4039870"/>
              <a:gd name="connsiteY6" fmla="*/ 7059783 h 7059783"/>
              <a:gd name="connsiteX7" fmla="*/ 2754337 w 4039870"/>
              <a:gd name="connsiteY7" fmla="*/ 3663 h 7059783"/>
              <a:gd name="connsiteX8" fmla="*/ 4039870 w 4039870"/>
              <a:gd name="connsiteY8" fmla="*/ 9525 h 7059783"/>
              <a:gd name="connsiteX9" fmla="*/ 1388110 w 4039870"/>
              <a:gd name="connsiteY9" fmla="*/ 7012305 h 7059783"/>
              <a:gd name="connsiteX10" fmla="*/ 32386 w 4039870"/>
              <a:gd name="connsiteY10" fmla="*/ 7016751 h 7059783"/>
              <a:gd name="connsiteX11" fmla="*/ 13336 w 4039870"/>
              <a:gd name="connsiteY11" fmla="*/ 9525 h 7059783"/>
              <a:gd name="connsiteX0" fmla="*/ 13336 w 4039870"/>
              <a:gd name="connsiteY0" fmla="*/ 6350 h 7056608"/>
              <a:gd name="connsiteX1" fmla="*/ 1350010 w 4039870"/>
              <a:gd name="connsiteY1" fmla="*/ 0 h 7056608"/>
              <a:gd name="connsiteX2" fmla="*/ 19685 w 4039870"/>
              <a:gd name="connsiteY2" fmla="*/ 3749675 h 7056608"/>
              <a:gd name="connsiteX3" fmla="*/ 1438910 w 4039870"/>
              <a:gd name="connsiteY3" fmla="*/ 0 h 7056608"/>
              <a:gd name="connsiteX4" fmla="*/ 2677001 w 4039870"/>
              <a:gd name="connsiteY4" fmla="*/ 9207 h 7056608"/>
              <a:gd name="connsiteX5" fmla="*/ 0 w 4039870"/>
              <a:gd name="connsiteY5" fmla="*/ 7047230 h 7056608"/>
              <a:gd name="connsiteX6" fmla="*/ 68580 w 4039870"/>
              <a:gd name="connsiteY6" fmla="*/ 7056608 h 7056608"/>
              <a:gd name="connsiteX7" fmla="*/ 2754337 w 4039870"/>
              <a:gd name="connsiteY7" fmla="*/ 488 h 7056608"/>
              <a:gd name="connsiteX8" fmla="*/ 4039870 w 4039870"/>
              <a:gd name="connsiteY8" fmla="*/ 6350 h 7056608"/>
              <a:gd name="connsiteX9" fmla="*/ 1388110 w 4039870"/>
              <a:gd name="connsiteY9" fmla="*/ 7009130 h 7056608"/>
              <a:gd name="connsiteX10" fmla="*/ 32386 w 4039870"/>
              <a:gd name="connsiteY10" fmla="*/ 7013576 h 7056608"/>
              <a:gd name="connsiteX11" fmla="*/ 13336 w 4039870"/>
              <a:gd name="connsiteY11" fmla="*/ 6350 h 7056608"/>
              <a:gd name="connsiteX0" fmla="*/ 13336 w 4039870"/>
              <a:gd name="connsiteY0" fmla="*/ 6350 h 7056608"/>
              <a:gd name="connsiteX1" fmla="*/ 1369060 w 4039870"/>
              <a:gd name="connsiteY1" fmla="*/ 0 h 7056608"/>
              <a:gd name="connsiteX2" fmla="*/ 19685 w 4039870"/>
              <a:gd name="connsiteY2" fmla="*/ 3749675 h 7056608"/>
              <a:gd name="connsiteX3" fmla="*/ 1438910 w 4039870"/>
              <a:gd name="connsiteY3" fmla="*/ 0 h 7056608"/>
              <a:gd name="connsiteX4" fmla="*/ 2677001 w 4039870"/>
              <a:gd name="connsiteY4" fmla="*/ 9207 h 7056608"/>
              <a:gd name="connsiteX5" fmla="*/ 0 w 4039870"/>
              <a:gd name="connsiteY5" fmla="*/ 7047230 h 7056608"/>
              <a:gd name="connsiteX6" fmla="*/ 68580 w 4039870"/>
              <a:gd name="connsiteY6" fmla="*/ 7056608 h 7056608"/>
              <a:gd name="connsiteX7" fmla="*/ 2754337 w 4039870"/>
              <a:gd name="connsiteY7" fmla="*/ 488 h 7056608"/>
              <a:gd name="connsiteX8" fmla="*/ 4039870 w 4039870"/>
              <a:gd name="connsiteY8" fmla="*/ 6350 h 7056608"/>
              <a:gd name="connsiteX9" fmla="*/ 1388110 w 4039870"/>
              <a:gd name="connsiteY9" fmla="*/ 7009130 h 7056608"/>
              <a:gd name="connsiteX10" fmla="*/ 32386 w 4039870"/>
              <a:gd name="connsiteY10" fmla="*/ 7013576 h 7056608"/>
              <a:gd name="connsiteX11" fmla="*/ 13336 w 4039870"/>
              <a:gd name="connsiteY11" fmla="*/ 6350 h 7056608"/>
              <a:gd name="connsiteX0" fmla="*/ 13336 w 4039870"/>
              <a:gd name="connsiteY0" fmla="*/ 6350 h 7056608"/>
              <a:gd name="connsiteX1" fmla="*/ 1369060 w 4039870"/>
              <a:gd name="connsiteY1" fmla="*/ 0 h 7056608"/>
              <a:gd name="connsiteX2" fmla="*/ 807085 w 4039870"/>
              <a:gd name="connsiteY2" fmla="*/ 1568450 h 7056608"/>
              <a:gd name="connsiteX3" fmla="*/ 19685 w 4039870"/>
              <a:gd name="connsiteY3" fmla="*/ 3749675 h 7056608"/>
              <a:gd name="connsiteX4" fmla="*/ 1438910 w 4039870"/>
              <a:gd name="connsiteY4" fmla="*/ 0 h 7056608"/>
              <a:gd name="connsiteX5" fmla="*/ 2677001 w 4039870"/>
              <a:gd name="connsiteY5" fmla="*/ 9207 h 7056608"/>
              <a:gd name="connsiteX6" fmla="*/ 0 w 4039870"/>
              <a:gd name="connsiteY6" fmla="*/ 7047230 h 7056608"/>
              <a:gd name="connsiteX7" fmla="*/ 68580 w 4039870"/>
              <a:gd name="connsiteY7" fmla="*/ 7056608 h 7056608"/>
              <a:gd name="connsiteX8" fmla="*/ 2754337 w 4039870"/>
              <a:gd name="connsiteY8" fmla="*/ 488 h 7056608"/>
              <a:gd name="connsiteX9" fmla="*/ 4039870 w 4039870"/>
              <a:gd name="connsiteY9" fmla="*/ 6350 h 7056608"/>
              <a:gd name="connsiteX10" fmla="*/ 1388110 w 4039870"/>
              <a:gd name="connsiteY10" fmla="*/ 7009130 h 7056608"/>
              <a:gd name="connsiteX11" fmla="*/ 32386 w 4039870"/>
              <a:gd name="connsiteY11" fmla="*/ 7013576 h 7056608"/>
              <a:gd name="connsiteX12" fmla="*/ 13336 w 4039870"/>
              <a:gd name="connsiteY12" fmla="*/ 6350 h 7056608"/>
              <a:gd name="connsiteX0" fmla="*/ 13336 w 4039870"/>
              <a:gd name="connsiteY0" fmla="*/ 6350 h 7056608"/>
              <a:gd name="connsiteX1" fmla="*/ 1369060 w 4039870"/>
              <a:gd name="connsiteY1" fmla="*/ 0 h 7056608"/>
              <a:gd name="connsiteX2" fmla="*/ 22860 w 4039870"/>
              <a:gd name="connsiteY2" fmla="*/ 3540125 h 7056608"/>
              <a:gd name="connsiteX3" fmla="*/ 19685 w 4039870"/>
              <a:gd name="connsiteY3" fmla="*/ 3749675 h 7056608"/>
              <a:gd name="connsiteX4" fmla="*/ 1438910 w 4039870"/>
              <a:gd name="connsiteY4" fmla="*/ 0 h 7056608"/>
              <a:gd name="connsiteX5" fmla="*/ 2677001 w 4039870"/>
              <a:gd name="connsiteY5" fmla="*/ 9207 h 7056608"/>
              <a:gd name="connsiteX6" fmla="*/ 0 w 4039870"/>
              <a:gd name="connsiteY6" fmla="*/ 7047230 h 7056608"/>
              <a:gd name="connsiteX7" fmla="*/ 68580 w 4039870"/>
              <a:gd name="connsiteY7" fmla="*/ 7056608 h 7056608"/>
              <a:gd name="connsiteX8" fmla="*/ 2754337 w 4039870"/>
              <a:gd name="connsiteY8" fmla="*/ 488 h 7056608"/>
              <a:gd name="connsiteX9" fmla="*/ 4039870 w 4039870"/>
              <a:gd name="connsiteY9" fmla="*/ 6350 h 7056608"/>
              <a:gd name="connsiteX10" fmla="*/ 1388110 w 4039870"/>
              <a:gd name="connsiteY10" fmla="*/ 7009130 h 7056608"/>
              <a:gd name="connsiteX11" fmla="*/ 32386 w 4039870"/>
              <a:gd name="connsiteY11" fmla="*/ 7013576 h 7056608"/>
              <a:gd name="connsiteX12" fmla="*/ 13336 w 4039870"/>
              <a:gd name="connsiteY12" fmla="*/ 6350 h 7056608"/>
              <a:gd name="connsiteX0" fmla="*/ 13336 w 4039870"/>
              <a:gd name="connsiteY0" fmla="*/ 6350 h 7056608"/>
              <a:gd name="connsiteX1" fmla="*/ 1369060 w 4039870"/>
              <a:gd name="connsiteY1" fmla="*/ 0 h 7056608"/>
              <a:gd name="connsiteX2" fmla="*/ 19685 w 4039870"/>
              <a:gd name="connsiteY2" fmla="*/ 3556000 h 7056608"/>
              <a:gd name="connsiteX3" fmla="*/ 19685 w 4039870"/>
              <a:gd name="connsiteY3" fmla="*/ 3749675 h 7056608"/>
              <a:gd name="connsiteX4" fmla="*/ 1438910 w 4039870"/>
              <a:gd name="connsiteY4" fmla="*/ 0 h 7056608"/>
              <a:gd name="connsiteX5" fmla="*/ 2677001 w 4039870"/>
              <a:gd name="connsiteY5" fmla="*/ 9207 h 7056608"/>
              <a:gd name="connsiteX6" fmla="*/ 0 w 4039870"/>
              <a:gd name="connsiteY6" fmla="*/ 7047230 h 7056608"/>
              <a:gd name="connsiteX7" fmla="*/ 68580 w 4039870"/>
              <a:gd name="connsiteY7" fmla="*/ 7056608 h 7056608"/>
              <a:gd name="connsiteX8" fmla="*/ 2754337 w 4039870"/>
              <a:gd name="connsiteY8" fmla="*/ 488 h 7056608"/>
              <a:gd name="connsiteX9" fmla="*/ 4039870 w 4039870"/>
              <a:gd name="connsiteY9" fmla="*/ 6350 h 7056608"/>
              <a:gd name="connsiteX10" fmla="*/ 1388110 w 4039870"/>
              <a:gd name="connsiteY10" fmla="*/ 7009130 h 7056608"/>
              <a:gd name="connsiteX11" fmla="*/ 32386 w 4039870"/>
              <a:gd name="connsiteY11" fmla="*/ 7013576 h 7056608"/>
              <a:gd name="connsiteX12" fmla="*/ 13336 w 4039870"/>
              <a:gd name="connsiteY12" fmla="*/ 6350 h 7056608"/>
              <a:gd name="connsiteX0" fmla="*/ 13336 w 4039870"/>
              <a:gd name="connsiteY0" fmla="*/ 6350 h 7056608"/>
              <a:gd name="connsiteX1" fmla="*/ 1369060 w 4039870"/>
              <a:gd name="connsiteY1" fmla="*/ 0 h 7056608"/>
              <a:gd name="connsiteX2" fmla="*/ 19685 w 4039870"/>
              <a:gd name="connsiteY2" fmla="*/ 3568700 h 7056608"/>
              <a:gd name="connsiteX3" fmla="*/ 19685 w 4039870"/>
              <a:gd name="connsiteY3" fmla="*/ 3749675 h 7056608"/>
              <a:gd name="connsiteX4" fmla="*/ 1438910 w 4039870"/>
              <a:gd name="connsiteY4" fmla="*/ 0 h 7056608"/>
              <a:gd name="connsiteX5" fmla="*/ 2677001 w 4039870"/>
              <a:gd name="connsiteY5" fmla="*/ 9207 h 7056608"/>
              <a:gd name="connsiteX6" fmla="*/ 0 w 4039870"/>
              <a:gd name="connsiteY6" fmla="*/ 7047230 h 7056608"/>
              <a:gd name="connsiteX7" fmla="*/ 68580 w 4039870"/>
              <a:gd name="connsiteY7" fmla="*/ 7056608 h 7056608"/>
              <a:gd name="connsiteX8" fmla="*/ 2754337 w 4039870"/>
              <a:gd name="connsiteY8" fmla="*/ 488 h 7056608"/>
              <a:gd name="connsiteX9" fmla="*/ 4039870 w 4039870"/>
              <a:gd name="connsiteY9" fmla="*/ 6350 h 7056608"/>
              <a:gd name="connsiteX10" fmla="*/ 1388110 w 4039870"/>
              <a:gd name="connsiteY10" fmla="*/ 7009130 h 7056608"/>
              <a:gd name="connsiteX11" fmla="*/ 32386 w 4039870"/>
              <a:gd name="connsiteY11" fmla="*/ 7013576 h 7056608"/>
              <a:gd name="connsiteX12" fmla="*/ 13336 w 4039870"/>
              <a:gd name="connsiteY12" fmla="*/ 6350 h 705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39870" h="7056608">
                <a:moveTo>
                  <a:pt x="13336" y="6350"/>
                </a:moveTo>
                <a:lnTo>
                  <a:pt x="1369060" y="0"/>
                </a:lnTo>
                <a:lnTo>
                  <a:pt x="19685" y="3568700"/>
                </a:lnTo>
                <a:cubicBezTo>
                  <a:pt x="18627" y="3638550"/>
                  <a:pt x="20743" y="3679825"/>
                  <a:pt x="19685" y="3749675"/>
                </a:cubicBezTo>
                <a:lnTo>
                  <a:pt x="1438910" y="0"/>
                </a:lnTo>
                <a:lnTo>
                  <a:pt x="2677001" y="9207"/>
                </a:lnTo>
                <a:lnTo>
                  <a:pt x="0" y="7047230"/>
                </a:lnTo>
                <a:lnTo>
                  <a:pt x="68580" y="7056608"/>
                </a:lnTo>
                <a:lnTo>
                  <a:pt x="2754337" y="488"/>
                </a:lnTo>
                <a:lnTo>
                  <a:pt x="4039870" y="6350"/>
                </a:lnTo>
                <a:lnTo>
                  <a:pt x="1388110" y="7009130"/>
                </a:lnTo>
                <a:lnTo>
                  <a:pt x="32386" y="7013576"/>
                </a:lnTo>
                <a:lnTo>
                  <a:pt x="13336" y="6350"/>
                </a:lnTo>
                <a:close/>
              </a:path>
            </a:pathLst>
          </a:custGeom>
          <a:solidFill>
            <a:schemeClr val="bg1">
              <a:lumMod val="65000"/>
            </a:schemeClr>
          </a:solidFill>
        </p:spPr>
        <p:txBody>
          <a:bodyPr lIns="576000" tIns="3348000"/>
          <a:lstStyle>
            <a:lvl1pPr>
              <a:defRPr sz="1200" b="1">
                <a:solidFill>
                  <a:schemeClr val="bg1"/>
                </a:solidFill>
              </a:defRPr>
            </a:lvl1pPr>
          </a:lstStyle>
          <a:p>
            <a:endParaRPr lang="en-US"/>
          </a:p>
        </p:txBody>
      </p:sp>
      <p:sp>
        <p:nvSpPr>
          <p:cNvPr id="9" name="Text Placeholder 3"/>
          <p:cNvSpPr>
            <a:spLocks noGrp="1"/>
          </p:cNvSpPr>
          <p:nvPr>
            <p:ph type="body" sz="quarter" idx="13"/>
          </p:nvPr>
        </p:nvSpPr>
        <p:spPr>
          <a:xfrm>
            <a:off x="3914774" y="1822450"/>
            <a:ext cx="4740276" cy="4641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p:cNvSpPr>
            <a:spLocks noGrp="1"/>
          </p:cNvSpPr>
          <p:nvPr>
            <p:ph type="title"/>
          </p:nvPr>
        </p:nvSpPr>
        <p:spPr>
          <a:xfrm>
            <a:off x="3914774" y="398977"/>
            <a:ext cx="4767832" cy="800867"/>
          </a:xfrm>
        </p:spPr>
        <p:txBody>
          <a:bodyPr/>
          <a:lstStyle/>
          <a:p>
            <a:r>
              <a:rPr lang="en-US" dirty="0"/>
              <a:t>Click to edit Master title style</a:t>
            </a:r>
          </a:p>
        </p:txBody>
      </p:sp>
      <p:sp>
        <p:nvSpPr>
          <p:cNvPr id="13" name="Parallelogram 12"/>
          <p:cNvSpPr/>
          <p:nvPr userDrawn="1"/>
        </p:nvSpPr>
        <p:spPr>
          <a:xfrm>
            <a:off x="3914774" y="1364891"/>
            <a:ext cx="720000" cy="60959"/>
          </a:xfrm>
          <a:prstGeom prst="parallelogram">
            <a:avLst>
              <a:gd name="adj" fmla="val 3799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71682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6_Body with image white">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4511674" y="1822450"/>
            <a:ext cx="4283075" cy="4641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14"/>
          <p:cNvSpPr>
            <a:spLocks noGrp="1"/>
          </p:cNvSpPr>
          <p:nvPr>
            <p:ph type="pic" sz="quarter" idx="12" hasCustomPrompt="1"/>
          </p:nvPr>
        </p:nvSpPr>
        <p:spPr>
          <a:xfrm>
            <a:off x="-74933" y="-76200"/>
            <a:ext cx="4618358" cy="6979468"/>
          </a:xfrm>
          <a:custGeom>
            <a:avLst/>
            <a:gdLst>
              <a:gd name="connsiteX0" fmla="*/ 0 w 4618144"/>
              <a:gd name="connsiteY0" fmla="*/ 0 h 6965950"/>
              <a:gd name="connsiteX1" fmla="*/ 4618144 w 4618144"/>
              <a:gd name="connsiteY1" fmla="*/ 0 h 6965950"/>
              <a:gd name="connsiteX2" fmla="*/ 4618144 w 4618144"/>
              <a:gd name="connsiteY2" fmla="*/ 6965950 h 6965950"/>
              <a:gd name="connsiteX3" fmla="*/ 0 w 4618144"/>
              <a:gd name="connsiteY3" fmla="*/ 6965950 h 6965950"/>
              <a:gd name="connsiteX4" fmla="*/ 0 w 4618144"/>
              <a:gd name="connsiteY4" fmla="*/ 0 h 6965950"/>
              <a:gd name="connsiteX0" fmla="*/ 0 w 4618144"/>
              <a:gd name="connsiteY0" fmla="*/ 6350 h 6972300"/>
              <a:gd name="connsiteX1" fmla="*/ 1954319 w 4618144"/>
              <a:gd name="connsiteY1" fmla="*/ 0 h 6972300"/>
              <a:gd name="connsiteX2" fmla="*/ 4618144 w 4618144"/>
              <a:gd name="connsiteY2" fmla="*/ 6350 h 6972300"/>
              <a:gd name="connsiteX3" fmla="*/ 4618144 w 4618144"/>
              <a:gd name="connsiteY3" fmla="*/ 6972300 h 6972300"/>
              <a:gd name="connsiteX4" fmla="*/ 0 w 4618144"/>
              <a:gd name="connsiteY4" fmla="*/ 6972300 h 6972300"/>
              <a:gd name="connsiteX5" fmla="*/ 0 w 4618144"/>
              <a:gd name="connsiteY5" fmla="*/ 6350 h 6972300"/>
              <a:gd name="connsiteX0" fmla="*/ 0 w 4618144"/>
              <a:gd name="connsiteY0" fmla="*/ 6350 h 6972300"/>
              <a:gd name="connsiteX1" fmla="*/ 716069 w 4618144"/>
              <a:gd name="connsiteY1" fmla="*/ 0 h 6972300"/>
              <a:gd name="connsiteX2" fmla="*/ 1954319 w 4618144"/>
              <a:gd name="connsiteY2" fmla="*/ 0 h 6972300"/>
              <a:gd name="connsiteX3" fmla="*/ 4618144 w 4618144"/>
              <a:gd name="connsiteY3" fmla="*/ 6350 h 6972300"/>
              <a:gd name="connsiteX4" fmla="*/ 4618144 w 4618144"/>
              <a:gd name="connsiteY4" fmla="*/ 6972300 h 6972300"/>
              <a:gd name="connsiteX5" fmla="*/ 0 w 4618144"/>
              <a:gd name="connsiteY5" fmla="*/ 6972300 h 6972300"/>
              <a:gd name="connsiteX6" fmla="*/ 0 w 4618144"/>
              <a:gd name="connsiteY6" fmla="*/ 6350 h 6972300"/>
              <a:gd name="connsiteX0" fmla="*/ 0 w 4618144"/>
              <a:gd name="connsiteY0" fmla="*/ 6350 h 6972300"/>
              <a:gd name="connsiteX1" fmla="*/ 620819 w 4618144"/>
              <a:gd name="connsiteY1" fmla="*/ 0 h 6972300"/>
              <a:gd name="connsiteX2" fmla="*/ 716069 w 4618144"/>
              <a:gd name="connsiteY2" fmla="*/ 0 h 6972300"/>
              <a:gd name="connsiteX3" fmla="*/ 1954319 w 4618144"/>
              <a:gd name="connsiteY3" fmla="*/ 0 h 6972300"/>
              <a:gd name="connsiteX4" fmla="*/ 4618144 w 4618144"/>
              <a:gd name="connsiteY4" fmla="*/ 6350 h 6972300"/>
              <a:gd name="connsiteX5" fmla="*/ 4618144 w 4618144"/>
              <a:gd name="connsiteY5" fmla="*/ 6972300 h 6972300"/>
              <a:gd name="connsiteX6" fmla="*/ 0 w 4618144"/>
              <a:gd name="connsiteY6" fmla="*/ 6972300 h 6972300"/>
              <a:gd name="connsiteX7" fmla="*/ 0 w 4618144"/>
              <a:gd name="connsiteY7" fmla="*/ 6350 h 6972300"/>
              <a:gd name="connsiteX0" fmla="*/ 7831 w 4625975"/>
              <a:gd name="connsiteY0" fmla="*/ 6350 h 6972300"/>
              <a:gd name="connsiteX1" fmla="*/ 628650 w 4625975"/>
              <a:gd name="connsiteY1" fmla="*/ 0 h 6972300"/>
              <a:gd name="connsiteX2" fmla="*/ 723900 w 4625975"/>
              <a:gd name="connsiteY2" fmla="*/ 0 h 6972300"/>
              <a:gd name="connsiteX3" fmla="*/ 1962150 w 4625975"/>
              <a:gd name="connsiteY3" fmla="*/ 0 h 6972300"/>
              <a:gd name="connsiteX4" fmla="*/ 4625975 w 4625975"/>
              <a:gd name="connsiteY4" fmla="*/ 6350 h 6972300"/>
              <a:gd name="connsiteX5" fmla="*/ 4625975 w 4625975"/>
              <a:gd name="connsiteY5" fmla="*/ 6972300 h 6972300"/>
              <a:gd name="connsiteX6" fmla="*/ 7831 w 4625975"/>
              <a:gd name="connsiteY6" fmla="*/ 6972300 h 6972300"/>
              <a:gd name="connsiteX7" fmla="*/ 0 w 4625975"/>
              <a:gd name="connsiteY7" fmla="*/ 1625600 h 6972300"/>
              <a:gd name="connsiteX8" fmla="*/ 7831 w 4625975"/>
              <a:gd name="connsiteY8"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46555 w 4964699"/>
              <a:gd name="connsiteY6" fmla="*/ 6972300 h 6972300"/>
              <a:gd name="connsiteX7" fmla="*/ 332375 w 4964699"/>
              <a:gd name="connsiteY7" fmla="*/ 1841500 h 6972300"/>
              <a:gd name="connsiteX8" fmla="*/ 338724 w 4964699"/>
              <a:gd name="connsiteY8" fmla="*/ 1625600 h 6972300"/>
              <a:gd name="connsiteX9" fmla="*/ 346555 w 4964699"/>
              <a:gd name="connsiteY9"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2288175 w 4964699"/>
              <a:gd name="connsiteY6" fmla="*/ 6965950 h 6972300"/>
              <a:gd name="connsiteX7" fmla="*/ 346555 w 4964699"/>
              <a:gd name="connsiteY7" fmla="*/ 6972300 h 6972300"/>
              <a:gd name="connsiteX8" fmla="*/ 332375 w 4964699"/>
              <a:gd name="connsiteY8" fmla="*/ 1841500 h 6972300"/>
              <a:gd name="connsiteX9" fmla="*/ 338724 w 4964699"/>
              <a:gd name="connsiteY9" fmla="*/ 1625600 h 6972300"/>
              <a:gd name="connsiteX10" fmla="*/ 346555 w 4964699"/>
              <a:gd name="connsiteY10"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2389775 w 4964699"/>
              <a:gd name="connsiteY6" fmla="*/ 6959600 h 6972300"/>
              <a:gd name="connsiteX7" fmla="*/ 2288175 w 4964699"/>
              <a:gd name="connsiteY7" fmla="*/ 6965950 h 6972300"/>
              <a:gd name="connsiteX8" fmla="*/ 346555 w 4964699"/>
              <a:gd name="connsiteY8" fmla="*/ 6972300 h 6972300"/>
              <a:gd name="connsiteX9" fmla="*/ 332375 w 4964699"/>
              <a:gd name="connsiteY9" fmla="*/ 1841500 h 6972300"/>
              <a:gd name="connsiteX10" fmla="*/ 338724 w 4964699"/>
              <a:gd name="connsiteY10" fmla="*/ 1625600 h 6972300"/>
              <a:gd name="connsiteX11" fmla="*/ 346555 w 4964699"/>
              <a:gd name="connsiteY11"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615325 w 4964699"/>
              <a:gd name="connsiteY6" fmla="*/ 6959600 h 6972300"/>
              <a:gd name="connsiteX7" fmla="*/ 2389775 w 4964699"/>
              <a:gd name="connsiteY7" fmla="*/ 6959600 h 6972300"/>
              <a:gd name="connsiteX8" fmla="*/ 2288175 w 4964699"/>
              <a:gd name="connsiteY8" fmla="*/ 6965950 h 6972300"/>
              <a:gd name="connsiteX9" fmla="*/ 346555 w 4964699"/>
              <a:gd name="connsiteY9" fmla="*/ 6972300 h 6972300"/>
              <a:gd name="connsiteX10" fmla="*/ 332375 w 4964699"/>
              <a:gd name="connsiteY10" fmla="*/ 1841500 h 6972300"/>
              <a:gd name="connsiteX11" fmla="*/ 338724 w 4964699"/>
              <a:gd name="connsiteY11" fmla="*/ 1625600 h 6972300"/>
              <a:gd name="connsiteX12" fmla="*/ 346555 w 4964699"/>
              <a:gd name="connsiteY12"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704225 w 4964699"/>
              <a:gd name="connsiteY6" fmla="*/ 6959600 h 6972300"/>
              <a:gd name="connsiteX7" fmla="*/ 3615325 w 4964699"/>
              <a:gd name="connsiteY7" fmla="*/ 6959600 h 6972300"/>
              <a:gd name="connsiteX8" fmla="*/ 2389775 w 4964699"/>
              <a:gd name="connsiteY8" fmla="*/ 6959600 h 6972300"/>
              <a:gd name="connsiteX9" fmla="*/ 2288175 w 4964699"/>
              <a:gd name="connsiteY9" fmla="*/ 6965950 h 6972300"/>
              <a:gd name="connsiteX10" fmla="*/ 346555 w 4964699"/>
              <a:gd name="connsiteY10" fmla="*/ 6972300 h 6972300"/>
              <a:gd name="connsiteX11" fmla="*/ 332375 w 4964699"/>
              <a:gd name="connsiteY11" fmla="*/ 1841500 h 6972300"/>
              <a:gd name="connsiteX12" fmla="*/ 338724 w 4964699"/>
              <a:gd name="connsiteY12" fmla="*/ 1625600 h 6972300"/>
              <a:gd name="connsiteX13" fmla="*/ 346555 w 4964699"/>
              <a:gd name="connsiteY13" fmla="*/ 6350 h 6972300"/>
              <a:gd name="connsiteX0" fmla="*/ 346555 w 4964699"/>
              <a:gd name="connsiteY0" fmla="*/ 11113 h 6977063"/>
              <a:gd name="connsiteX1" fmla="*/ 967374 w 4964699"/>
              <a:gd name="connsiteY1" fmla="*/ 4763 h 6977063"/>
              <a:gd name="connsiteX2" fmla="*/ 1026113 w 4964699"/>
              <a:gd name="connsiteY2" fmla="*/ 0 h 6977063"/>
              <a:gd name="connsiteX3" fmla="*/ 1062624 w 4964699"/>
              <a:gd name="connsiteY3" fmla="*/ 4763 h 6977063"/>
              <a:gd name="connsiteX4" fmla="*/ 2300874 w 4964699"/>
              <a:gd name="connsiteY4" fmla="*/ 4763 h 6977063"/>
              <a:gd name="connsiteX5" fmla="*/ 4964699 w 4964699"/>
              <a:gd name="connsiteY5" fmla="*/ 11113 h 6977063"/>
              <a:gd name="connsiteX6" fmla="*/ 4964699 w 4964699"/>
              <a:gd name="connsiteY6" fmla="*/ 6977063 h 6977063"/>
              <a:gd name="connsiteX7" fmla="*/ 3704225 w 4964699"/>
              <a:gd name="connsiteY7" fmla="*/ 6964363 h 6977063"/>
              <a:gd name="connsiteX8" fmla="*/ 3615325 w 4964699"/>
              <a:gd name="connsiteY8" fmla="*/ 6964363 h 6977063"/>
              <a:gd name="connsiteX9" fmla="*/ 2389775 w 4964699"/>
              <a:gd name="connsiteY9" fmla="*/ 6964363 h 6977063"/>
              <a:gd name="connsiteX10" fmla="*/ 2288175 w 4964699"/>
              <a:gd name="connsiteY10" fmla="*/ 6970713 h 6977063"/>
              <a:gd name="connsiteX11" fmla="*/ 346555 w 4964699"/>
              <a:gd name="connsiteY11" fmla="*/ 6977063 h 6977063"/>
              <a:gd name="connsiteX12" fmla="*/ 332375 w 4964699"/>
              <a:gd name="connsiteY12" fmla="*/ 1846263 h 6977063"/>
              <a:gd name="connsiteX13" fmla="*/ 338724 w 4964699"/>
              <a:gd name="connsiteY13" fmla="*/ 1630363 h 6977063"/>
              <a:gd name="connsiteX14" fmla="*/ 346555 w 4964699"/>
              <a:gd name="connsiteY14" fmla="*/ 11113 h 6977063"/>
              <a:gd name="connsiteX0" fmla="*/ 346555 w 4964699"/>
              <a:gd name="connsiteY0" fmla="*/ 6350 h 6972300"/>
              <a:gd name="connsiteX1" fmla="*/ 967374 w 4964699"/>
              <a:gd name="connsiteY1" fmla="*/ 0 h 6972300"/>
              <a:gd name="connsiteX2" fmla="*/ 2526300 w 4964699"/>
              <a:gd name="connsiteY2" fmla="*/ 3881437 h 6972300"/>
              <a:gd name="connsiteX3" fmla="*/ 1062624 w 4964699"/>
              <a:gd name="connsiteY3" fmla="*/ 0 h 6972300"/>
              <a:gd name="connsiteX4" fmla="*/ 2300874 w 4964699"/>
              <a:gd name="connsiteY4" fmla="*/ 0 h 6972300"/>
              <a:gd name="connsiteX5" fmla="*/ 4964699 w 4964699"/>
              <a:gd name="connsiteY5" fmla="*/ 6350 h 6972300"/>
              <a:gd name="connsiteX6" fmla="*/ 4964699 w 4964699"/>
              <a:gd name="connsiteY6" fmla="*/ 6972300 h 6972300"/>
              <a:gd name="connsiteX7" fmla="*/ 3704225 w 4964699"/>
              <a:gd name="connsiteY7" fmla="*/ 6959600 h 6972300"/>
              <a:gd name="connsiteX8" fmla="*/ 3615325 w 4964699"/>
              <a:gd name="connsiteY8" fmla="*/ 6959600 h 6972300"/>
              <a:gd name="connsiteX9" fmla="*/ 2389775 w 4964699"/>
              <a:gd name="connsiteY9" fmla="*/ 6959600 h 6972300"/>
              <a:gd name="connsiteX10" fmla="*/ 2288175 w 4964699"/>
              <a:gd name="connsiteY10" fmla="*/ 6965950 h 6972300"/>
              <a:gd name="connsiteX11" fmla="*/ 346555 w 4964699"/>
              <a:gd name="connsiteY11" fmla="*/ 6972300 h 6972300"/>
              <a:gd name="connsiteX12" fmla="*/ 332375 w 4964699"/>
              <a:gd name="connsiteY12" fmla="*/ 1841500 h 6972300"/>
              <a:gd name="connsiteX13" fmla="*/ 338724 w 4964699"/>
              <a:gd name="connsiteY13" fmla="*/ 1625600 h 6972300"/>
              <a:gd name="connsiteX14" fmla="*/ 346555 w 4964699"/>
              <a:gd name="connsiteY14" fmla="*/ 6350 h 6972300"/>
              <a:gd name="connsiteX0" fmla="*/ 346555 w 4964699"/>
              <a:gd name="connsiteY0" fmla="*/ 6350 h 6972300"/>
              <a:gd name="connsiteX1" fmla="*/ 967374 w 4964699"/>
              <a:gd name="connsiteY1" fmla="*/ 0 h 6972300"/>
              <a:gd name="connsiteX2" fmla="*/ 3699780 w 4964699"/>
              <a:gd name="connsiteY2" fmla="*/ 6967537 h 6972300"/>
              <a:gd name="connsiteX3" fmla="*/ 1062624 w 4964699"/>
              <a:gd name="connsiteY3" fmla="*/ 0 h 6972300"/>
              <a:gd name="connsiteX4" fmla="*/ 2300874 w 4964699"/>
              <a:gd name="connsiteY4" fmla="*/ 0 h 6972300"/>
              <a:gd name="connsiteX5" fmla="*/ 4964699 w 4964699"/>
              <a:gd name="connsiteY5" fmla="*/ 6350 h 6972300"/>
              <a:gd name="connsiteX6" fmla="*/ 4964699 w 4964699"/>
              <a:gd name="connsiteY6" fmla="*/ 6972300 h 6972300"/>
              <a:gd name="connsiteX7" fmla="*/ 3704225 w 4964699"/>
              <a:gd name="connsiteY7" fmla="*/ 6959600 h 6972300"/>
              <a:gd name="connsiteX8" fmla="*/ 3615325 w 4964699"/>
              <a:gd name="connsiteY8" fmla="*/ 6959600 h 6972300"/>
              <a:gd name="connsiteX9" fmla="*/ 2389775 w 4964699"/>
              <a:gd name="connsiteY9" fmla="*/ 6959600 h 6972300"/>
              <a:gd name="connsiteX10" fmla="*/ 2288175 w 4964699"/>
              <a:gd name="connsiteY10" fmla="*/ 6965950 h 6972300"/>
              <a:gd name="connsiteX11" fmla="*/ 346555 w 4964699"/>
              <a:gd name="connsiteY11" fmla="*/ 6972300 h 6972300"/>
              <a:gd name="connsiteX12" fmla="*/ 332375 w 4964699"/>
              <a:gd name="connsiteY12" fmla="*/ 1841500 h 6972300"/>
              <a:gd name="connsiteX13" fmla="*/ 338724 w 4964699"/>
              <a:gd name="connsiteY13" fmla="*/ 1625600 h 6972300"/>
              <a:gd name="connsiteX14" fmla="*/ 346555 w 4964699"/>
              <a:gd name="connsiteY14" fmla="*/ 6350 h 6972300"/>
              <a:gd name="connsiteX0" fmla="*/ 346555 w 4964699"/>
              <a:gd name="connsiteY0" fmla="*/ 6350 h 6972300"/>
              <a:gd name="connsiteX1" fmla="*/ 967374 w 4964699"/>
              <a:gd name="connsiteY1" fmla="*/ 0 h 6972300"/>
              <a:gd name="connsiteX2" fmla="*/ 2684415 w 4964699"/>
              <a:gd name="connsiteY2" fmla="*/ 438150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615325 w 4964699"/>
              <a:gd name="connsiteY9" fmla="*/ 695960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346555 w 4964699"/>
              <a:gd name="connsiteY0" fmla="*/ 6350 h 6972300"/>
              <a:gd name="connsiteX1" fmla="*/ 967374 w 4964699"/>
              <a:gd name="connsiteY1" fmla="*/ 0 h 6972300"/>
              <a:gd name="connsiteX2" fmla="*/ 3621675 w 4964699"/>
              <a:gd name="connsiteY2" fmla="*/ 695706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615325 w 4964699"/>
              <a:gd name="connsiteY9" fmla="*/ 695960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346555 w 4964699"/>
              <a:gd name="connsiteY0" fmla="*/ 6350 h 6972300"/>
              <a:gd name="connsiteX1" fmla="*/ 967374 w 4964699"/>
              <a:gd name="connsiteY1" fmla="*/ 0 h 6972300"/>
              <a:gd name="connsiteX2" fmla="*/ 3621675 w 4964699"/>
              <a:gd name="connsiteY2" fmla="*/ 695706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592465 w 4964699"/>
              <a:gd name="connsiteY9" fmla="*/ 695198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154847 w 4772991"/>
              <a:gd name="connsiteY0" fmla="*/ 6350 h 6972300"/>
              <a:gd name="connsiteX1" fmla="*/ 775666 w 4772991"/>
              <a:gd name="connsiteY1" fmla="*/ 0 h 6972300"/>
              <a:gd name="connsiteX2" fmla="*/ 3429967 w 4772991"/>
              <a:gd name="connsiteY2" fmla="*/ 6957060 h 6972300"/>
              <a:gd name="connsiteX3" fmla="*/ 3508072 w 4772991"/>
              <a:gd name="connsiteY3" fmla="*/ 6967537 h 6972300"/>
              <a:gd name="connsiteX4" fmla="*/ 870916 w 4772991"/>
              <a:gd name="connsiteY4" fmla="*/ 0 h 6972300"/>
              <a:gd name="connsiteX5" fmla="*/ 2109166 w 4772991"/>
              <a:gd name="connsiteY5" fmla="*/ 0 h 6972300"/>
              <a:gd name="connsiteX6" fmla="*/ 4772991 w 4772991"/>
              <a:gd name="connsiteY6" fmla="*/ 6350 h 6972300"/>
              <a:gd name="connsiteX7" fmla="*/ 4772991 w 4772991"/>
              <a:gd name="connsiteY7" fmla="*/ 6972300 h 6972300"/>
              <a:gd name="connsiteX8" fmla="*/ 3512517 w 4772991"/>
              <a:gd name="connsiteY8" fmla="*/ 6959600 h 6972300"/>
              <a:gd name="connsiteX9" fmla="*/ 3400757 w 4772991"/>
              <a:gd name="connsiteY9" fmla="*/ 6951980 h 6972300"/>
              <a:gd name="connsiteX10" fmla="*/ 2198067 w 4772991"/>
              <a:gd name="connsiteY10" fmla="*/ 6959600 h 6972300"/>
              <a:gd name="connsiteX11" fmla="*/ 2096467 w 4772991"/>
              <a:gd name="connsiteY11" fmla="*/ 6965950 h 6972300"/>
              <a:gd name="connsiteX12" fmla="*/ 154847 w 4772991"/>
              <a:gd name="connsiteY12" fmla="*/ 6972300 h 6972300"/>
              <a:gd name="connsiteX13" fmla="*/ 121617 w 4772991"/>
              <a:gd name="connsiteY13" fmla="*/ 1974850 h 6972300"/>
              <a:gd name="connsiteX14" fmla="*/ 140667 w 4772991"/>
              <a:gd name="connsiteY14" fmla="*/ 1841500 h 6972300"/>
              <a:gd name="connsiteX15" fmla="*/ 147016 w 4772991"/>
              <a:gd name="connsiteY15" fmla="*/ 1625600 h 6972300"/>
              <a:gd name="connsiteX16" fmla="*/ 154847 w 4772991"/>
              <a:gd name="connsiteY16"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123157 w 4774531"/>
              <a:gd name="connsiteY14" fmla="*/ 1974850 h 6972300"/>
              <a:gd name="connsiteX15" fmla="*/ 142207 w 4774531"/>
              <a:gd name="connsiteY15" fmla="*/ 1841500 h 6972300"/>
              <a:gd name="connsiteX16" fmla="*/ 148556 w 4774531"/>
              <a:gd name="connsiteY16" fmla="*/ 1625600 h 6972300"/>
              <a:gd name="connsiteX17" fmla="*/ 156387 w 4774531"/>
              <a:gd name="connsiteY17"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123157 w 4774531"/>
              <a:gd name="connsiteY14" fmla="*/ 1974850 h 6972300"/>
              <a:gd name="connsiteX15" fmla="*/ 525589 w 4774531"/>
              <a:gd name="connsiteY15" fmla="*/ 1889125 h 6972300"/>
              <a:gd name="connsiteX16" fmla="*/ 148556 w 4774531"/>
              <a:gd name="connsiteY16" fmla="*/ 1625600 h 6972300"/>
              <a:gd name="connsiteX17" fmla="*/ 156387 w 4774531"/>
              <a:gd name="connsiteY17"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430338 w 4774531"/>
              <a:gd name="connsiteY14" fmla="*/ 2432050 h 6972300"/>
              <a:gd name="connsiteX15" fmla="*/ 525589 w 4774531"/>
              <a:gd name="connsiteY15" fmla="*/ 1889125 h 6972300"/>
              <a:gd name="connsiteX16" fmla="*/ 148556 w 4774531"/>
              <a:gd name="connsiteY16" fmla="*/ 1625600 h 6972300"/>
              <a:gd name="connsiteX17" fmla="*/ 156387 w 4774531"/>
              <a:gd name="connsiteY17" fmla="*/ 6350 h 6972300"/>
              <a:gd name="connsiteX0" fmla="*/ 146526 w 4764670"/>
              <a:gd name="connsiteY0" fmla="*/ 6350 h 6972300"/>
              <a:gd name="connsiteX1" fmla="*/ 767345 w 4764670"/>
              <a:gd name="connsiteY1" fmla="*/ 0 h 6972300"/>
              <a:gd name="connsiteX2" fmla="*/ 3421646 w 4764670"/>
              <a:gd name="connsiteY2" fmla="*/ 6957060 h 6972300"/>
              <a:gd name="connsiteX3" fmla="*/ 3499751 w 4764670"/>
              <a:gd name="connsiteY3" fmla="*/ 6967537 h 6972300"/>
              <a:gd name="connsiteX4" fmla="*/ 862595 w 4764670"/>
              <a:gd name="connsiteY4" fmla="*/ 0 h 6972300"/>
              <a:gd name="connsiteX5" fmla="*/ 2100845 w 4764670"/>
              <a:gd name="connsiteY5" fmla="*/ 0 h 6972300"/>
              <a:gd name="connsiteX6" fmla="*/ 4764670 w 4764670"/>
              <a:gd name="connsiteY6" fmla="*/ 6350 h 6972300"/>
              <a:gd name="connsiteX7" fmla="*/ 4764670 w 4764670"/>
              <a:gd name="connsiteY7" fmla="*/ 6972300 h 6972300"/>
              <a:gd name="connsiteX8" fmla="*/ 3504196 w 4764670"/>
              <a:gd name="connsiteY8" fmla="*/ 6959600 h 6972300"/>
              <a:gd name="connsiteX9" fmla="*/ 3392436 w 4764670"/>
              <a:gd name="connsiteY9" fmla="*/ 6951980 h 6972300"/>
              <a:gd name="connsiteX10" fmla="*/ 2189746 w 4764670"/>
              <a:gd name="connsiteY10" fmla="*/ 6959600 h 6972300"/>
              <a:gd name="connsiteX11" fmla="*/ 2088146 w 4764670"/>
              <a:gd name="connsiteY11" fmla="*/ 6965950 h 6972300"/>
              <a:gd name="connsiteX12" fmla="*/ 146526 w 4764670"/>
              <a:gd name="connsiteY12" fmla="*/ 6972300 h 6972300"/>
              <a:gd name="connsiteX13" fmla="*/ 142665 w 4764670"/>
              <a:gd name="connsiteY13" fmla="*/ 2000250 h 6972300"/>
              <a:gd name="connsiteX14" fmla="*/ 420477 w 4764670"/>
              <a:gd name="connsiteY14" fmla="*/ 2432050 h 6972300"/>
              <a:gd name="connsiteX15" fmla="*/ 515728 w 4764670"/>
              <a:gd name="connsiteY15" fmla="*/ 1889125 h 6972300"/>
              <a:gd name="connsiteX16" fmla="*/ 138695 w 4764670"/>
              <a:gd name="connsiteY16" fmla="*/ 1625600 h 6972300"/>
              <a:gd name="connsiteX17" fmla="*/ 146526 w 4764670"/>
              <a:gd name="connsiteY17" fmla="*/ 6350 h 6972300"/>
              <a:gd name="connsiteX0" fmla="*/ 146526 w 4764670"/>
              <a:gd name="connsiteY0" fmla="*/ 6350 h 6972300"/>
              <a:gd name="connsiteX1" fmla="*/ 767345 w 4764670"/>
              <a:gd name="connsiteY1" fmla="*/ 0 h 6972300"/>
              <a:gd name="connsiteX2" fmla="*/ 3421646 w 4764670"/>
              <a:gd name="connsiteY2" fmla="*/ 6957060 h 6972300"/>
              <a:gd name="connsiteX3" fmla="*/ 3499751 w 4764670"/>
              <a:gd name="connsiteY3" fmla="*/ 6967537 h 6972300"/>
              <a:gd name="connsiteX4" fmla="*/ 862595 w 4764670"/>
              <a:gd name="connsiteY4" fmla="*/ 0 h 6972300"/>
              <a:gd name="connsiteX5" fmla="*/ 2100845 w 4764670"/>
              <a:gd name="connsiteY5" fmla="*/ 0 h 6972300"/>
              <a:gd name="connsiteX6" fmla="*/ 4764670 w 4764670"/>
              <a:gd name="connsiteY6" fmla="*/ 6350 h 6972300"/>
              <a:gd name="connsiteX7" fmla="*/ 4764670 w 4764670"/>
              <a:gd name="connsiteY7" fmla="*/ 6972300 h 6972300"/>
              <a:gd name="connsiteX8" fmla="*/ 3504196 w 4764670"/>
              <a:gd name="connsiteY8" fmla="*/ 6959600 h 6972300"/>
              <a:gd name="connsiteX9" fmla="*/ 3392436 w 4764670"/>
              <a:gd name="connsiteY9" fmla="*/ 6951980 h 6972300"/>
              <a:gd name="connsiteX10" fmla="*/ 2189746 w 4764670"/>
              <a:gd name="connsiteY10" fmla="*/ 6959600 h 6972300"/>
              <a:gd name="connsiteX11" fmla="*/ 2088146 w 4764670"/>
              <a:gd name="connsiteY11" fmla="*/ 6965950 h 6972300"/>
              <a:gd name="connsiteX12" fmla="*/ 146526 w 4764670"/>
              <a:gd name="connsiteY12" fmla="*/ 6972300 h 6972300"/>
              <a:gd name="connsiteX13" fmla="*/ 142665 w 4764670"/>
              <a:gd name="connsiteY13" fmla="*/ 2000250 h 6972300"/>
              <a:gd name="connsiteX14" fmla="*/ 420477 w 4764670"/>
              <a:gd name="connsiteY14" fmla="*/ 2432050 h 6972300"/>
              <a:gd name="connsiteX15" fmla="*/ 515728 w 4764670"/>
              <a:gd name="connsiteY15" fmla="*/ 1889125 h 6972300"/>
              <a:gd name="connsiteX16" fmla="*/ 138695 w 4764670"/>
              <a:gd name="connsiteY16" fmla="*/ 1625600 h 6972300"/>
              <a:gd name="connsiteX17" fmla="*/ 146526 w 476467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411767 w 4755960"/>
              <a:gd name="connsiteY14" fmla="*/ 2432050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1545242 w 4755960"/>
              <a:gd name="connsiteY14" fmla="*/ 5541962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2078642 w 4755960"/>
              <a:gd name="connsiteY14" fmla="*/ 6970712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29985 w 4755960"/>
              <a:gd name="connsiteY16" fmla="*/ 1625600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44272 w 4755960"/>
              <a:gd name="connsiteY16" fmla="*/ 1616076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44272 w 4755960"/>
              <a:gd name="connsiteY16" fmla="*/ 1616076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29985 w 4755960"/>
              <a:gd name="connsiteY16" fmla="*/ 1630363 h 6977874"/>
              <a:gd name="connsiteX17" fmla="*/ 137816 w 4755960"/>
              <a:gd name="connsiteY17" fmla="*/ 6350 h 6977874"/>
              <a:gd name="connsiteX0" fmla="*/ 142330 w 4760474"/>
              <a:gd name="connsiteY0" fmla="*/ 6350 h 6977874"/>
              <a:gd name="connsiteX1" fmla="*/ 763149 w 4760474"/>
              <a:gd name="connsiteY1" fmla="*/ 0 h 6977874"/>
              <a:gd name="connsiteX2" fmla="*/ 3417450 w 4760474"/>
              <a:gd name="connsiteY2" fmla="*/ 6957060 h 6977874"/>
              <a:gd name="connsiteX3" fmla="*/ 3495555 w 4760474"/>
              <a:gd name="connsiteY3" fmla="*/ 6967537 h 6977874"/>
              <a:gd name="connsiteX4" fmla="*/ 858399 w 4760474"/>
              <a:gd name="connsiteY4" fmla="*/ 0 h 6977874"/>
              <a:gd name="connsiteX5" fmla="*/ 2096649 w 4760474"/>
              <a:gd name="connsiteY5" fmla="*/ 0 h 6977874"/>
              <a:gd name="connsiteX6" fmla="*/ 4760474 w 4760474"/>
              <a:gd name="connsiteY6" fmla="*/ 6350 h 6977874"/>
              <a:gd name="connsiteX7" fmla="*/ 4760474 w 4760474"/>
              <a:gd name="connsiteY7" fmla="*/ 6972300 h 6977874"/>
              <a:gd name="connsiteX8" fmla="*/ 3500000 w 4760474"/>
              <a:gd name="connsiteY8" fmla="*/ 6959600 h 6977874"/>
              <a:gd name="connsiteX9" fmla="*/ 3388240 w 4760474"/>
              <a:gd name="connsiteY9" fmla="*/ 6951980 h 6977874"/>
              <a:gd name="connsiteX10" fmla="*/ 2185550 w 4760474"/>
              <a:gd name="connsiteY10" fmla="*/ 6959600 h 6977874"/>
              <a:gd name="connsiteX11" fmla="*/ 2083950 w 4760474"/>
              <a:gd name="connsiteY11" fmla="*/ 6965950 h 6977874"/>
              <a:gd name="connsiteX12" fmla="*/ 142330 w 4760474"/>
              <a:gd name="connsiteY12" fmla="*/ 6972300 h 6977874"/>
              <a:gd name="connsiteX13" fmla="*/ 155138 w 4760474"/>
              <a:gd name="connsiteY13" fmla="*/ 1883569 h 6977874"/>
              <a:gd name="connsiteX14" fmla="*/ 2083156 w 4760474"/>
              <a:gd name="connsiteY14" fmla="*/ 6970712 h 6977874"/>
              <a:gd name="connsiteX15" fmla="*/ 2183170 w 4760474"/>
              <a:gd name="connsiteY15" fmla="*/ 6956425 h 6977874"/>
              <a:gd name="connsiteX16" fmla="*/ 134499 w 4760474"/>
              <a:gd name="connsiteY16" fmla="*/ 1630363 h 6977874"/>
              <a:gd name="connsiteX17" fmla="*/ 142330 w 4760474"/>
              <a:gd name="connsiteY17" fmla="*/ 6350 h 6977874"/>
              <a:gd name="connsiteX0" fmla="*/ 144363 w 4762507"/>
              <a:gd name="connsiteY0" fmla="*/ 6350 h 6977874"/>
              <a:gd name="connsiteX1" fmla="*/ 765182 w 4762507"/>
              <a:gd name="connsiteY1" fmla="*/ 0 h 6977874"/>
              <a:gd name="connsiteX2" fmla="*/ 3419483 w 4762507"/>
              <a:gd name="connsiteY2" fmla="*/ 6957060 h 6977874"/>
              <a:gd name="connsiteX3" fmla="*/ 3497588 w 4762507"/>
              <a:gd name="connsiteY3" fmla="*/ 6967537 h 6977874"/>
              <a:gd name="connsiteX4" fmla="*/ 860432 w 4762507"/>
              <a:gd name="connsiteY4" fmla="*/ 0 h 6977874"/>
              <a:gd name="connsiteX5" fmla="*/ 2098682 w 4762507"/>
              <a:gd name="connsiteY5" fmla="*/ 0 h 6977874"/>
              <a:gd name="connsiteX6" fmla="*/ 4762507 w 4762507"/>
              <a:gd name="connsiteY6" fmla="*/ 6350 h 6977874"/>
              <a:gd name="connsiteX7" fmla="*/ 4762507 w 4762507"/>
              <a:gd name="connsiteY7" fmla="*/ 6972300 h 6977874"/>
              <a:gd name="connsiteX8" fmla="*/ 3502033 w 4762507"/>
              <a:gd name="connsiteY8" fmla="*/ 6959600 h 6977874"/>
              <a:gd name="connsiteX9" fmla="*/ 3390273 w 4762507"/>
              <a:gd name="connsiteY9" fmla="*/ 6951980 h 6977874"/>
              <a:gd name="connsiteX10" fmla="*/ 2187583 w 4762507"/>
              <a:gd name="connsiteY10" fmla="*/ 6959600 h 6977874"/>
              <a:gd name="connsiteX11" fmla="*/ 2085983 w 4762507"/>
              <a:gd name="connsiteY11" fmla="*/ 6965950 h 6977874"/>
              <a:gd name="connsiteX12" fmla="*/ 144363 w 4762507"/>
              <a:gd name="connsiteY12" fmla="*/ 6972300 h 6977874"/>
              <a:gd name="connsiteX13" fmla="*/ 157171 w 4762507"/>
              <a:gd name="connsiteY13" fmla="*/ 1883569 h 6977874"/>
              <a:gd name="connsiteX14" fmla="*/ 2085189 w 4762507"/>
              <a:gd name="connsiteY14" fmla="*/ 6970712 h 6977874"/>
              <a:gd name="connsiteX15" fmla="*/ 2185203 w 4762507"/>
              <a:gd name="connsiteY15" fmla="*/ 6956425 h 6977874"/>
              <a:gd name="connsiteX16" fmla="*/ 136532 w 4762507"/>
              <a:gd name="connsiteY16" fmla="*/ 1630363 h 6977874"/>
              <a:gd name="connsiteX17" fmla="*/ 144363 w 4762507"/>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8220 w 4626364"/>
              <a:gd name="connsiteY12" fmla="*/ 6972300 h 6977874"/>
              <a:gd name="connsiteX13" fmla="*/ 21028 w 4626364"/>
              <a:gd name="connsiteY13" fmla="*/ 188356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46320 w 4626364"/>
              <a:gd name="connsiteY12" fmla="*/ 6965950 h 6977874"/>
              <a:gd name="connsiteX13" fmla="*/ 21028 w 4626364"/>
              <a:gd name="connsiteY13" fmla="*/ 188356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46320 w 4626364"/>
              <a:gd name="connsiteY12" fmla="*/ 6965950 h 6977874"/>
              <a:gd name="connsiteX13" fmla="*/ 40078 w 4626364"/>
              <a:gd name="connsiteY13" fmla="*/ 194071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350 h 6977874"/>
              <a:gd name="connsiteX7" fmla="*/ 4618340 w 4618340"/>
              <a:gd name="connsiteY7" fmla="*/ 6972300 h 6977874"/>
              <a:gd name="connsiteX8" fmla="*/ 3357866 w 4618340"/>
              <a:gd name="connsiteY8" fmla="*/ 6959600 h 6977874"/>
              <a:gd name="connsiteX9" fmla="*/ 3246106 w 4618340"/>
              <a:gd name="connsiteY9" fmla="*/ 6951980 h 6977874"/>
              <a:gd name="connsiteX10" fmla="*/ 2043416 w 4618340"/>
              <a:gd name="connsiteY10" fmla="*/ 6959600 h 6977874"/>
              <a:gd name="connsiteX11" fmla="*/ 1941816 w 4618340"/>
              <a:gd name="connsiteY11" fmla="*/ 6965950 h 6977874"/>
              <a:gd name="connsiteX12" fmla="*/ 38296 w 4618340"/>
              <a:gd name="connsiteY12" fmla="*/ 6965950 h 6977874"/>
              <a:gd name="connsiteX13" fmla="*/ 32054 w 4618340"/>
              <a:gd name="connsiteY13" fmla="*/ 1940719 h 6977874"/>
              <a:gd name="connsiteX14" fmla="*/ 1941022 w 4618340"/>
              <a:gd name="connsiteY14" fmla="*/ 6970712 h 6977874"/>
              <a:gd name="connsiteX15" fmla="*/ 2041036 w 4618340"/>
              <a:gd name="connsiteY15" fmla="*/ 6956425 h 6977874"/>
              <a:gd name="connsiteX16" fmla="*/ 24115 w 4618340"/>
              <a:gd name="connsiteY16" fmla="*/ 1712913 h 6977874"/>
              <a:gd name="connsiteX17" fmla="*/ 196 w 4618340"/>
              <a:gd name="connsiteY17"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4102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6007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7912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17422 h 6977874"/>
              <a:gd name="connsiteX13" fmla="*/ 197912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17422 h 6977874"/>
              <a:gd name="connsiteX13" fmla="*/ 1984947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82584"/>
              <a:gd name="connsiteX1" fmla="*/ 621015 w 4618340"/>
              <a:gd name="connsiteY1" fmla="*/ 0 h 6982584"/>
              <a:gd name="connsiteX2" fmla="*/ 3275316 w 4618340"/>
              <a:gd name="connsiteY2" fmla="*/ 6957060 h 6982584"/>
              <a:gd name="connsiteX3" fmla="*/ 3353421 w 4618340"/>
              <a:gd name="connsiteY3" fmla="*/ 6967537 h 6982584"/>
              <a:gd name="connsiteX4" fmla="*/ 716265 w 4618340"/>
              <a:gd name="connsiteY4" fmla="*/ 0 h 6982584"/>
              <a:gd name="connsiteX5" fmla="*/ 1954515 w 4618340"/>
              <a:gd name="connsiteY5" fmla="*/ 0 h 6982584"/>
              <a:gd name="connsiteX6" fmla="*/ 4618340 w 4618340"/>
              <a:gd name="connsiteY6" fmla="*/ 6972300 h 6982584"/>
              <a:gd name="connsiteX7" fmla="*/ 3357866 w 4618340"/>
              <a:gd name="connsiteY7" fmla="*/ 6959600 h 6982584"/>
              <a:gd name="connsiteX8" fmla="*/ 3246106 w 4618340"/>
              <a:gd name="connsiteY8" fmla="*/ 6951980 h 6982584"/>
              <a:gd name="connsiteX9" fmla="*/ 2043416 w 4618340"/>
              <a:gd name="connsiteY9" fmla="*/ 6959600 h 6982584"/>
              <a:gd name="connsiteX10" fmla="*/ 1941816 w 4618340"/>
              <a:gd name="connsiteY10" fmla="*/ 6965950 h 6982584"/>
              <a:gd name="connsiteX11" fmla="*/ 38296 w 4618340"/>
              <a:gd name="connsiteY11" fmla="*/ 6965950 h 6982584"/>
              <a:gd name="connsiteX12" fmla="*/ 32054 w 4618340"/>
              <a:gd name="connsiteY12" fmla="*/ 1917422 h 6982584"/>
              <a:gd name="connsiteX13" fmla="*/ 2002419 w 4618340"/>
              <a:gd name="connsiteY13" fmla="*/ 6982360 h 6982584"/>
              <a:gd name="connsiteX14" fmla="*/ 2041036 w 4618340"/>
              <a:gd name="connsiteY14" fmla="*/ 6956425 h 6982584"/>
              <a:gd name="connsiteX15" fmla="*/ 24115 w 4618340"/>
              <a:gd name="connsiteY15" fmla="*/ 1712913 h 6982584"/>
              <a:gd name="connsiteX16" fmla="*/ 196 w 4618340"/>
              <a:gd name="connsiteY16" fmla="*/ 6350 h 6982584"/>
              <a:gd name="connsiteX0" fmla="*/ 196 w 4618340"/>
              <a:gd name="connsiteY0" fmla="*/ 6350 h 6982585"/>
              <a:gd name="connsiteX1" fmla="*/ 621015 w 4618340"/>
              <a:gd name="connsiteY1" fmla="*/ 0 h 6982585"/>
              <a:gd name="connsiteX2" fmla="*/ 3275316 w 4618340"/>
              <a:gd name="connsiteY2" fmla="*/ 6957060 h 6982585"/>
              <a:gd name="connsiteX3" fmla="*/ 3353421 w 4618340"/>
              <a:gd name="connsiteY3" fmla="*/ 6967537 h 6982585"/>
              <a:gd name="connsiteX4" fmla="*/ 716265 w 4618340"/>
              <a:gd name="connsiteY4" fmla="*/ 0 h 6982585"/>
              <a:gd name="connsiteX5" fmla="*/ 1954515 w 4618340"/>
              <a:gd name="connsiteY5" fmla="*/ 0 h 6982585"/>
              <a:gd name="connsiteX6" fmla="*/ 4618340 w 4618340"/>
              <a:gd name="connsiteY6" fmla="*/ 6972300 h 6982585"/>
              <a:gd name="connsiteX7" fmla="*/ 3357866 w 4618340"/>
              <a:gd name="connsiteY7" fmla="*/ 6959600 h 6982585"/>
              <a:gd name="connsiteX8" fmla="*/ 3246106 w 4618340"/>
              <a:gd name="connsiteY8" fmla="*/ 6951980 h 6982585"/>
              <a:gd name="connsiteX9" fmla="*/ 2043416 w 4618340"/>
              <a:gd name="connsiteY9" fmla="*/ 6959600 h 6982585"/>
              <a:gd name="connsiteX10" fmla="*/ 1941816 w 4618340"/>
              <a:gd name="connsiteY10" fmla="*/ 6965950 h 6982585"/>
              <a:gd name="connsiteX11" fmla="*/ 38296 w 4618340"/>
              <a:gd name="connsiteY11" fmla="*/ 6965950 h 6982585"/>
              <a:gd name="connsiteX12" fmla="*/ 32054 w 4618340"/>
              <a:gd name="connsiteY12" fmla="*/ 1946543 h 6982585"/>
              <a:gd name="connsiteX13" fmla="*/ 2002419 w 4618340"/>
              <a:gd name="connsiteY13" fmla="*/ 6982360 h 6982585"/>
              <a:gd name="connsiteX14" fmla="*/ 2041036 w 4618340"/>
              <a:gd name="connsiteY14" fmla="*/ 6956425 h 6982585"/>
              <a:gd name="connsiteX15" fmla="*/ 24115 w 4618340"/>
              <a:gd name="connsiteY15" fmla="*/ 1712913 h 6982585"/>
              <a:gd name="connsiteX16" fmla="*/ 196 w 4618340"/>
              <a:gd name="connsiteY16" fmla="*/ 6350 h 6982585"/>
              <a:gd name="connsiteX0" fmla="*/ 196 w 4618340"/>
              <a:gd name="connsiteY0" fmla="*/ 6350 h 6982585"/>
              <a:gd name="connsiteX1" fmla="*/ 621015 w 4618340"/>
              <a:gd name="connsiteY1" fmla="*/ 0 h 6982585"/>
              <a:gd name="connsiteX2" fmla="*/ 3275316 w 4618340"/>
              <a:gd name="connsiteY2" fmla="*/ 6957060 h 6982585"/>
              <a:gd name="connsiteX3" fmla="*/ 3353421 w 4618340"/>
              <a:gd name="connsiteY3" fmla="*/ 6967537 h 6982585"/>
              <a:gd name="connsiteX4" fmla="*/ 716265 w 4618340"/>
              <a:gd name="connsiteY4" fmla="*/ 0 h 6982585"/>
              <a:gd name="connsiteX5" fmla="*/ 1954515 w 4618340"/>
              <a:gd name="connsiteY5" fmla="*/ 0 h 6982585"/>
              <a:gd name="connsiteX6" fmla="*/ 4618340 w 4618340"/>
              <a:gd name="connsiteY6" fmla="*/ 6972300 h 6982585"/>
              <a:gd name="connsiteX7" fmla="*/ 3357866 w 4618340"/>
              <a:gd name="connsiteY7" fmla="*/ 6959600 h 6982585"/>
              <a:gd name="connsiteX8" fmla="*/ 3246106 w 4618340"/>
              <a:gd name="connsiteY8" fmla="*/ 6951980 h 6982585"/>
              <a:gd name="connsiteX9" fmla="*/ 2043416 w 4618340"/>
              <a:gd name="connsiteY9" fmla="*/ 6959600 h 6982585"/>
              <a:gd name="connsiteX10" fmla="*/ 1941816 w 4618340"/>
              <a:gd name="connsiteY10" fmla="*/ 6965950 h 6982585"/>
              <a:gd name="connsiteX11" fmla="*/ 38296 w 4618340"/>
              <a:gd name="connsiteY11" fmla="*/ 6965950 h 6982585"/>
              <a:gd name="connsiteX12" fmla="*/ 32054 w 4618340"/>
              <a:gd name="connsiteY12" fmla="*/ 1946543 h 6982585"/>
              <a:gd name="connsiteX13" fmla="*/ 1990770 w 4618340"/>
              <a:gd name="connsiteY13" fmla="*/ 6982360 h 6982585"/>
              <a:gd name="connsiteX14" fmla="*/ 2041036 w 4618340"/>
              <a:gd name="connsiteY14" fmla="*/ 6956425 h 6982585"/>
              <a:gd name="connsiteX15" fmla="*/ 24115 w 4618340"/>
              <a:gd name="connsiteY15" fmla="*/ 1712913 h 6982585"/>
              <a:gd name="connsiteX16" fmla="*/ 196 w 4618340"/>
              <a:gd name="connsiteY16" fmla="*/ 6350 h 6982585"/>
              <a:gd name="connsiteX0" fmla="*/ 196 w 4618340"/>
              <a:gd name="connsiteY0" fmla="*/ 6350 h 6982585"/>
              <a:gd name="connsiteX1" fmla="*/ 632921 w 4618340"/>
              <a:gd name="connsiteY1" fmla="*/ 0 h 6982585"/>
              <a:gd name="connsiteX2" fmla="*/ 3275316 w 4618340"/>
              <a:gd name="connsiteY2" fmla="*/ 6957060 h 6982585"/>
              <a:gd name="connsiteX3" fmla="*/ 3353421 w 4618340"/>
              <a:gd name="connsiteY3" fmla="*/ 6967537 h 6982585"/>
              <a:gd name="connsiteX4" fmla="*/ 716265 w 4618340"/>
              <a:gd name="connsiteY4" fmla="*/ 0 h 6982585"/>
              <a:gd name="connsiteX5" fmla="*/ 1954515 w 4618340"/>
              <a:gd name="connsiteY5" fmla="*/ 0 h 6982585"/>
              <a:gd name="connsiteX6" fmla="*/ 4618340 w 4618340"/>
              <a:gd name="connsiteY6" fmla="*/ 6972300 h 6982585"/>
              <a:gd name="connsiteX7" fmla="*/ 3357866 w 4618340"/>
              <a:gd name="connsiteY7" fmla="*/ 6959600 h 6982585"/>
              <a:gd name="connsiteX8" fmla="*/ 3246106 w 4618340"/>
              <a:gd name="connsiteY8" fmla="*/ 6951980 h 6982585"/>
              <a:gd name="connsiteX9" fmla="*/ 2043416 w 4618340"/>
              <a:gd name="connsiteY9" fmla="*/ 6959600 h 6982585"/>
              <a:gd name="connsiteX10" fmla="*/ 1941816 w 4618340"/>
              <a:gd name="connsiteY10" fmla="*/ 6965950 h 6982585"/>
              <a:gd name="connsiteX11" fmla="*/ 38296 w 4618340"/>
              <a:gd name="connsiteY11" fmla="*/ 6965950 h 6982585"/>
              <a:gd name="connsiteX12" fmla="*/ 32054 w 4618340"/>
              <a:gd name="connsiteY12" fmla="*/ 1946543 h 6982585"/>
              <a:gd name="connsiteX13" fmla="*/ 1990770 w 4618340"/>
              <a:gd name="connsiteY13" fmla="*/ 6982360 h 6982585"/>
              <a:gd name="connsiteX14" fmla="*/ 2041036 w 4618340"/>
              <a:gd name="connsiteY14" fmla="*/ 6956425 h 6982585"/>
              <a:gd name="connsiteX15" fmla="*/ 24115 w 4618340"/>
              <a:gd name="connsiteY15" fmla="*/ 1712913 h 6982585"/>
              <a:gd name="connsiteX16" fmla="*/ 196 w 4618340"/>
              <a:gd name="connsiteY16" fmla="*/ 6350 h 6982585"/>
              <a:gd name="connsiteX0" fmla="*/ 214 w 4618358"/>
              <a:gd name="connsiteY0" fmla="*/ 6350 h 6982585"/>
              <a:gd name="connsiteX1" fmla="*/ 632939 w 4618358"/>
              <a:gd name="connsiteY1" fmla="*/ 0 h 6982585"/>
              <a:gd name="connsiteX2" fmla="*/ 3275334 w 4618358"/>
              <a:gd name="connsiteY2" fmla="*/ 6957060 h 6982585"/>
              <a:gd name="connsiteX3" fmla="*/ 3353439 w 4618358"/>
              <a:gd name="connsiteY3" fmla="*/ 6967537 h 6982585"/>
              <a:gd name="connsiteX4" fmla="*/ 716283 w 4618358"/>
              <a:gd name="connsiteY4" fmla="*/ 0 h 6982585"/>
              <a:gd name="connsiteX5" fmla="*/ 1954533 w 4618358"/>
              <a:gd name="connsiteY5" fmla="*/ 0 h 6982585"/>
              <a:gd name="connsiteX6" fmla="*/ 4618358 w 4618358"/>
              <a:gd name="connsiteY6" fmla="*/ 6972300 h 6982585"/>
              <a:gd name="connsiteX7" fmla="*/ 3357884 w 4618358"/>
              <a:gd name="connsiteY7" fmla="*/ 6959600 h 6982585"/>
              <a:gd name="connsiteX8" fmla="*/ 3246124 w 4618358"/>
              <a:gd name="connsiteY8" fmla="*/ 6951980 h 6982585"/>
              <a:gd name="connsiteX9" fmla="*/ 2043434 w 4618358"/>
              <a:gd name="connsiteY9" fmla="*/ 6959600 h 6982585"/>
              <a:gd name="connsiteX10" fmla="*/ 1941834 w 4618358"/>
              <a:gd name="connsiteY10" fmla="*/ 6965950 h 6982585"/>
              <a:gd name="connsiteX11" fmla="*/ 38314 w 4618358"/>
              <a:gd name="connsiteY11" fmla="*/ 6965950 h 6982585"/>
              <a:gd name="connsiteX12" fmla="*/ 32072 w 4618358"/>
              <a:gd name="connsiteY12" fmla="*/ 1946543 h 6982585"/>
              <a:gd name="connsiteX13" fmla="*/ 1990788 w 4618358"/>
              <a:gd name="connsiteY13" fmla="*/ 6982360 h 6982585"/>
              <a:gd name="connsiteX14" fmla="*/ 2041054 w 4618358"/>
              <a:gd name="connsiteY14" fmla="*/ 6956425 h 6982585"/>
              <a:gd name="connsiteX15" fmla="*/ 21752 w 4618358"/>
              <a:gd name="connsiteY15" fmla="*/ 1629569 h 6982585"/>
              <a:gd name="connsiteX16" fmla="*/ 214 w 4618358"/>
              <a:gd name="connsiteY16" fmla="*/ 6350 h 6982585"/>
              <a:gd name="connsiteX0" fmla="*/ 214 w 4618358"/>
              <a:gd name="connsiteY0" fmla="*/ 6350 h 7366254"/>
              <a:gd name="connsiteX1" fmla="*/ 632939 w 4618358"/>
              <a:gd name="connsiteY1" fmla="*/ 0 h 7366254"/>
              <a:gd name="connsiteX2" fmla="*/ 3275334 w 4618358"/>
              <a:gd name="connsiteY2" fmla="*/ 6957060 h 7366254"/>
              <a:gd name="connsiteX3" fmla="*/ 3353439 w 4618358"/>
              <a:gd name="connsiteY3" fmla="*/ 6967537 h 7366254"/>
              <a:gd name="connsiteX4" fmla="*/ 716283 w 4618358"/>
              <a:gd name="connsiteY4" fmla="*/ 0 h 7366254"/>
              <a:gd name="connsiteX5" fmla="*/ 1954533 w 4618358"/>
              <a:gd name="connsiteY5" fmla="*/ 0 h 7366254"/>
              <a:gd name="connsiteX6" fmla="*/ 4618358 w 4618358"/>
              <a:gd name="connsiteY6" fmla="*/ 6972300 h 7366254"/>
              <a:gd name="connsiteX7" fmla="*/ 3357884 w 4618358"/>
              <a:gd name="connsiteY7" fmla="*/ 6959600 h 7366254"/>
              <a:gd name="connsiteX8" fmla="*/ 3246124 w 4618358"/>
              <a:gd name="connsiteY8" fmla="*/ 6951980 h 7366254"/>
              <a:gd name="connsiteX9" fmla="*/ 2043434 w 4618358"/>
              <a:gd name="connsiteY9" fmla="*/ 6959600 h 7366254"/>
              <a:gd name="connsiteX10" fmla="*/ 1941834 w 4618358"/>
              <a:gd name="connsiteY10" fmla="*/ 6965950 h 7366254"/>
              <a:gd name="connsiteX11" fmla="*/ 38314 w 4618358"/>
              <a:gd name="connsiteY11" fmla="*/ 6965950 h 7366254"/>
              <a:gd name="connsiteX12" fmla="*/ 39216 w 4618358"/>
              <a:gd name="connsiteY12" fmla="*/ 1858436 h 7366254"/>
              <a:gd name="connsiteX13" fmla="*/ 1990788 w 4618358"/>
              <a:gd name="connsiteY13" fmla="*/ 6982360 h 7366254"/>
              <a:gd name="connsiteX14" fmla="*/ 2041054 w 4618358"/>
              <a:gd name="connsiteY14" fmla="*/ 6956425 h 7366254"/>
              <a:gd name="connsiteX15" fmla="*/ 21752 w 4618358"/>
              <a:gd name="connsiteY15" fmla="*/ 1629569 h 7366254"/>
              <a:gd name="connsiteX16" fmla="*/ 214 w 4618358"/>
              <a:gd name="connsiteY16" fmla="*/ 6350 h 7366254"/>
              <a:gd name="connsiteX0" fmla="*/ 214 w 4618358"/>
              <a:gd name="connsiteY0" fmla="*/ 6350 h 6987302"/>
              <a:gd name="connsiteX1" fmla="*/ 632939 w 4618358"/>
              <a:gd name="connsiteY1" fmla="*/ 0 h 6987302"/>
              <a:gd name="connsiteX2" fmla="*/ 3275334 w 4618358"/>
              <a:gd name="connsiteY2" fmla="*/ 6957060 h 6987302"/>
              <a:gd name="connsiteX3" fmla="*/ 3353439 w 4618358"/>
              <a:gd name="connsiteY3" fmla="*/ 6967537 h 6987302"/>
              <a:gd name="connsiteX4" fmla="*/ 716283 w 4618358"/>
              <a:gd name="connsiteY4" fmla="*/ 0 h 6987302"/>
              <a:gd name="connsiteX5" fmla="*/ 1954533 w 4618358"/>
              <a:gd name="connsiteY5" fmla="*/ 0 h 6987302"/>
              <a:gd name="connsiteX6" fmla="*/ 4618358 w 4618358"/>
              <a:gd name="connsiteY6" fmla="*/ 6972300 h 6987302"/>
              <a:gd name="connsiteX7" fmla="*/ 3357884 w 4618358"/>
              <a:gd name="connsiteY7" fmla="*/ 6959600 h 6987302"/>
              <a:gd name="connsiteX8" fmla="*/ 3246124 w 4618358"/>
              <a:gd name="connsiteY8" fmla="*/ 6951980 h 6987302"/>
              <a:gd name="connsiteX9" fmla="*/ 2043434 w 4618358"/>
              <a:gd name="connsiteY9" fmla="*/ 6959600 h 6987302"/>
              <a:gd name="connsiteX10" fmla="*/ 1941834 w 4618358"/>
              <a:gd name="connsiteY10" fmla="*/ 6965950 h 6987302"/>
              <a:gd name="connsiteX11" fmla="*/ 38314 w 4618358"/>
              <a:gd name="connsiteY11" fmla="*/ 6965950 h 6987302"/>
              <a:gd name="connsiteX12" fmla="*/ 39216 w 4618358"/>
              <a:gd name="connsiteY12" fmla="*/ 1858436 h 6987302"/>
              <a:gd name="connsiteX13" fmla="*/ 1990788 w 4618358"/>
              <a:gd name="connsiteY13" fmla="*/ 6982360 h 6987302"/>
              <a:gd name="connsiteX14" fmla="*/ 2041054 w 4618358"/>
              <a:gd name="connsiteY14" fmla="*/ 6956425 h 6987302"/>
              <a:gd name="connsiteX15" fmla="*/ 21752 w 4618358"/>
              <a:gd name="connsiteY15" fmla="*/ 1629569 h 6987302"/>
              <a:gd name="connsiteX16" fmla="*/ 214 w 4618358"/>
              <a:gd name="connsiteY16" fmla="*/ 6350 h 6987302"/>
              <a:gd name="connsiteX0" fmla="*/ 214 w 4618358"/>
              <a:gd name="connsiteY0" fmla="*/ 6350 h 6982380"/>
              <a:gd name="connsiteX1" fmla="*/ 632939 w 4618358"/>
              <a:gd name="connsiteY1" fmla="*/ 0 h 6982380"/>
              <a:gd name="connsiteX2" fmla="*/ 3275334 w 4618358"/>
              <a:gd name="connsiteY2" fmla="*/ 6957060 h 6982380"/>
              <a:gd name="connsiteX3" fmla="*/ 3353439 w 4618358"/>
              <a:gd name="connsiteY3" fmla="*/ 6967537 h 6982380"/>
              <a:gd name="connsiteX4" fmla="*/ 716283 w 4618358"/>
              <a:gd name="connsiteY4" fmla="*/ 0 h 6982380"/>
              <a:gd name="connsiteX5" fmla="*/ 1954533 w 4618358"/>
              <a:gd name="connsiteY5" fmla="*/ 0 h 6982380"/>
              <a:gd name="connsiteX6" fmla="*/ 4618358 w 4618358"/>
              <a:gd name="connsiteY6" fmla="*/ 6972300 h 6982380"/>
              <a:gd name="connsiteX7" fmla="*/ 3357884 w 4618358"/>
              <a:gd name="connsiteY7" fmla="*/ 6959600 h 6982380"/>
              <a:gd name="connsiteX8" fmla="*/ 3246124 w 4618358"/>
              <a:gd name="connsiteY8" fmla="*/ 6951980 h 6982380"/>
              <a:gd name="connsiteX9" fmla="*/ 2043434 w 4618358"/>
              <a:gd name="connsiteY9" fmla="*/ 6959600 h 6982380"/>
              <a:gd name="connsiteX10" fmla="*/ 1941834 w 4618358"/>
              <a:gd name="connsiteY10" fmla="*/ 6965950 h 6982380"/>
              <a:gd name="connsiteX11" fmla="*/ 38314 w 4618358"/>
              <a:gd name="connsiteY11" fmla="*/ 6965950 h 6982380"/>
              <a:gd name="connsiteX12" fmla="*/ 39216 w 4618358"/>
              <a:gd name="connsiteY12" fmla="*/ 1858436 h 6982380"/>
              <a:gd name="connsiteX13" fmla="*/ 1990788 w 4618358"/>
              <a:gd name="connsiteY13" fmla="*/ 6982360 h 6982380"/>
              <a:gd name="connsiteX14" fmla="*/ 2041054 w 4618358"/>
              <a:gd name="connsiteY14" fmla="*/ 6956425 h 6982380"/>
              <a:gd name="connsiteX15" fmla="*/ 21752 w 4618358"/>
              <a:gd name="connsiteY15" fmla="*/ 1629569 h 6982380"/>
              <a:gd name="connsiteX16" fmla="*/ 214 w 4618358"/>
              <a:gd name="connsiteY16" fmla="*/ 6350 h 6982380"/>
              <a:gd name="connsiteX0" fmla="*/ 214 w 4618358"/>
              <a:gd name="connsiteY0" fmla="*/ 6350 h 6972855"/>
              <a:gd name="connsiteX1" fmla="*/ 632939 w 4618358"/>
              <a:gd name="connsiteY1" fmla="*/ 0 h 6972855"/>
              <a:gd name="connsiteX2" fmla="*/ 3275334 w 4618358"/>
              <a:gd name="connsiteY2" fmla="*/ 6957060 h 6972855"/>
              <a:gd name="connsiteX3" fmla="*/ 3353439 w 4618358"/>
              <a:gd name="connsiteY3" fmla="*/ 6967537 h 6972855"/>
              <a:gd name="connsiteX4" fmla="*/ 716283 w 4618358"/>
              <a:gd name="connsiteY4" fmla="*/ 0 h 6972855"/>
              <a:gd name="connsiteX5" fmla="*/ 1954533 w 4618358"/>
              <a:gd name="connsiteY5" fmla="*/ 0 h 6972855"/>
              <a:gd name="connsiteX6" fmla="*/ 4618358 w 4618358"/>
              <a:gd name="connsiteY6" fmla="*/ 6972300 h 6972855"/>
              <a:gd name="connsiteX7" fmla="*/ 3357884 w 4618358"/>
              <a:gd name="connsiteY7" fmla="*/ 6959600 h 6972855"/>
              <a:gd name="connsiteX8" fmla="*/ 3246124 w 4618358"/>
              <a:gd name="connsiteY8" fmla="*/ 6951980 h 6972855"/>
              <a:gd name="connsiteX9" fmla="*/ 2043434 w 4618358"/>
              <a:gd name="connsiteY9" fmla="*/ 6959600 h 6972855"/>
              <a:gd name="connsiteX10" fmla="*/ 1941834 w 4618358"/>
              <a:gd name="connsiteY10" fmla="*/ 6965950 h 6972855"/>
              <a:gd name="connsiteX11" fmla="*/ 38314 w 4618358"/>
              <a:gd name="connsiteY11" fmla="*/ 6965950 h 6972855"/>
              <a:gd name="connsiteX12" fmla="*/ 39216 w 4618358"/>
              <a:gd name="connsiteY12" fmla="*/ 1858436 h 6972855"/>
              <a:gd name="connsiteX13" fmla="*/ 1986026 w 4618358"/>
              <a:gd name="connsiteY13" fmla="*/ 6972835 h 6972855"/>
              <a:gd name="connsiteX14" fmla="*/ 2041054 w 4618358"/>
              <a:gd name="connsiteY14" fmla="*/ 6956425 h 6972855"/>
              <a:gd name="connsiteX15" fmla="*/ 21752 w 4618358"/>
              <a:gd name="connsiteY15" fmla="*/ 1629569 h 6972855"/>
              <a:gd name="connsiteX16" fmla="*/ 214 w 4618358"/>
              <a:gd name="connsiteY16" fmla="*/ 6350 h 6972855"/>
              <a:gd name="connsiteX0" fmla="*/ 214 w 4618358"/>
              <a:gd name="connsiteY0" fmla="*/ 6350 h 7346830"/>
              <a:gd name="connsiteX1" fmla="*/ 632939 w 4618358"/>
              <a:gd name="connsiteY1" fmla="*/ 0 h 7346830"/>
              <a:gd name="connsiteX2" fmla="*/ 3275334 w 4618358"/>
              <a:gd name="connsiteY2" fmla="*/ 6957060 h 7346830"/>
              <a:gd name="connsiteX3" fmla="*/ 3353439 w 4618358"/>
              <a:gd name="connsiteY3" fmla="*/ 6967537 h 7346830"/>
              <a:gd name="connsiteX4" fmla="*/ 716283 w 4618358"/>
              <a:gd name="connsiteY4" fmla="*/ 0 h 7346830"/>
              <a:gd name="connsiteX5" fmla="*/ 1954533 w 4618358"/>
              <a:gd name="connsiteY5" fmla="*/ 0 h 7346830"/>
              <a:gd name="connsiteX6" fmla="*/ 4618358 w 4618358"/>
              <a:gd name="connsiteY6" fmla="*/ 6972300 h 7346830"/>
              <a:gd name="connsiteX7" fmla="*/ 3357884 w 4618358"/>
              <a:gd name="connsiteY7" fmla="*/ 6959600 h 7346830"/>
              <a:gd name="connsiteX8" fmla="*/ 3246124 w 4618358"/>
              <a:gd name="connsiteY8" fmla="*/ 6951980 h 7346830"/>
              <a:gd name="connsiteX9" fmla="*/ 2043434 w 4618358"/>
              <a:gd name="connsiteY9" fmla="*/ 6959600 h 7346830"/>
              <a:gd name="connsiteX10" fmla="*/ 1941834 w 4618358"/>
              <a:gd name="connsiteY10" fmla="*/ 6965950 h 7346830"/>
              <a:gd name="connsiteX11" fmla="*/ 38314 w 4618358"/>
              <a:gd name="connsiteY11" fmla="*/ 6965950 h 7346830"/>
              <a:gd name="connsiteX12" fmla="*/ 39216 w 4618358"/>
              <a:gd name="connsiteY12" fmla="*/ 1860817 h 7346830"/>
              <a:gd name="connsiteX13" fmla="*/ 1986026 w 4618358"/>
              <a:gd name="connsiteY13" fmla="*/ 6972835 h 7346830"/>
              <a:gd name="connsiteX14" fmla="*/ 2041054 w 4618358"/>
              <a:gd name="connsiteY14" fmla="*/ 6956425 h 7346830"/>
              <a:gd name="connsiteX15" fmla="*/ 21752 w 4618358"/>
              <a:gd name="connsiteY15" fmla="*/ 1629569 h 7346830"/>
              <a:gd name="connsiteX16" fmla="*/ 214 w 4618358"/>
              <a:gd name="connsiteY16" fmla="*/ 6350 h 7346830"/>
              <a:gd name="connsiteX0" fmla="*/ 214 w 4618358"/>
              <a:gd name="connsiteY0" fmla="*/ 6350 h 6972835"/>
              <a:gd name="connsiteX1" fmla="*/ 632939 w 4618358"/>
              <a:gd name="connsiteY1" fmla="*/ 0 h 6972835"/>
              <a:gd name="connsiteX2" fmla="*/ 3275334 w 4618358"/>
              <a:gd name="connsiteY2" fmla="*/ 6957060 h 6972835"/>
              <a:gd name="connsiteX3" fmla="*/ 3353439 w 4618358"/>
              <a:gd name="connsiteY3" fmla="*/ 6967537 h 6972835"/>
              <a:gd name="connsiteX4" fmla="*/ 716283 w 4618358"/>
              <a:gd name="connsiteY4" fmla="*/ 0 h 6972835"/>
              <a:gd name="connsiteX5" fmla="*/ 1954533 w 4618358"/>
              <a:gd name="connsiteY5" fmla="*/ 0 h 6972835"/>
              <a:gd name="connsiteX6" fmla="*/ 4618358 w 4618358"/>
              <a:gd name="connsiteY6" fmla="*/ 6972300 h 6972835"/>
              <a:gd name="connsiteX7" fmla="*/ 3357884 w 4618358"/>
              <a:gd name="connsiteY7" fmla="*/ 6959600 h 6972835"/>
              <a:gd name="connsiteX8" fmla="*/ 3246124 w 4618358"/>
              <a:gd name="connsiteY8" fmla="*/ 6951980 h 6972835"/>
              <a:gd name="connsiteX9" fmla="*/ 2043434 w 4618358"/>
              <a:gd name="connsiteY9" fmla="*/ 6959600 h 6972835"/>
              <a:gd name="connsiteX10" fmla="*/ 1941834 w 4618358"/>
              <a:gd name="connsiteY10" fmla="*/ 6965950 h 6972835"/>
              <a:gd name="connsiteX11" fmla="*/ 38314 w 4618358"/>
              <a:gd name="connsiteY11" fmla="*/ 6965950 h 6972835"/>
              <a:gd name="connsiteX12" fmla="*/ 39216 w 4618358"/>
              <a:gd name="connsiteY12" fmla="*/ 1860817 h 6972835"/>
              <a:gd name="connsiteX13" fmla="*/ 1986026 w 4618358"/>
              <a:gd name="connsiteY13" fmla="*/ 6972835 h 6972835"/>
              <a:gd name="connsiteX14" fmla="*/ 2041054 w 4618358"/>
              <a:gd name="connsiteY14" fmla="*/ 6956425 h 6972835"/>
              <a:gd name="connsiteX15" fmla="*/ 21752 w 4618358"/>
              <a:gd name="connsiteY15" fmla="*/ 1629569 h 6972835"/>
              <a:gd name="connsiteX16" fmla="*/ 214 w 4618358"/>
              <a:gd name="connsiteY16" fmla="*/ 6350 h 6972835"/>
              <a:gd name="connsiteX0" fmla="*/ 214 w 4618358"/>
              <a:gd name="connsiteY0" fmla="*/ 6350 h 7346830"/>
              <a:gd name="connsiteX1" fmla="*/ 632939 w 4618358"/>
              <a:gd name="connsiteY1" fmla="*/ 0 h 7346830"/>
              <a:gd name="connsiteX2" fmla="*/ 3275334 w 4618358"/>
              <a:gd name="connsiteY2" fmla="*/ 6957060 h 7346830"/>
              <a:gd name="connsiteX3" fmla="*/ 3353439 w 4618358"/>
              <a:gd name="connsiteY3" fmla="*/ 6967537 h 7346830"/>
              <a:gd name="connsiteX4" fmla="*/ 716283 w 4618358"/>
              <a:gd name="connsiteY4" fmla="*/ 0 h 7346830"/>
              <a:gd name="connsiteX5" fmla="*/ 1954533 w 4618358"/>
              <a:gd name="connsiteY5" fmla="*/ 0 h 7346830"/>
              <a:gd name="connsiteX6" fmla="*/ 4618358 w 4618358"/>
              <a:gd name="connsiteY6" fmla="*/ 6972300 h 7346830"/>
              <a:gd name="connsiteX7" fmla="*/ 3357884 w 4618358"/>
              <a:gd name="connsiteY7" fmla="*/ 6959600 h 7346830"/>
              <a:gd name="connsiteX8" fmla="*/ 3246124 w 4618358"/>
              <a:gd name="connsiteY8" fmla="*/ 6951980 h 7346830"/>
              <a:gd name="connsiteX9" fmla="*/ 2043434 w 4618358"/>
              <a:gd name="connsiteY9" fmla="*/ 6959600 h 7346830"/>
              <a:gd name="connsiteX10" fmla="*/ 1941834 w 4618358"/>
              <a:gd name="connsiteY10" fmla="*/ 6965950 h 7346830"/>
              <a:gd name="connsiteX11" fmla="*/ 38314 w 4618358"/>
              <a:gd name="connsiteY11" fmla="*/ 6965950 h 7346830"/>
              <a:gd name="connsiteX12" fmla="*/ 29691 w 4618358"/>
              <a:gd name="connsiteY12" fmla="*/ 1860817 h 7346830"/>
              <a:gd name="connsiteX13" fmla="*/ 1986026 w 4618358"/>
              <a:gd name="connsiteY13" fmla="*/ 6972835 h 7346830"/>
              <a:gd name="connsiteX14" fmla="*/ 2041054 w 4618358"/>
              <a:gd name="connsiteY14" fmla="*/ 6956425 h 7346830"/>
              <a:gd name="connsiteX15" fmla="*/ 21752 w 4618358"/>
              <a:gd name="connsiteY15" fmla="*/ 1629569 h 7346830"/>
              <a:gd name="connsiteX16" fmla="*/ 214 w 4618358"/>
              <a:gd name="connsiteY16" fmla="*/ 6350 h 7346830"/>
              <a:gd name="connsiteX0" fmla="*/ 214 w 4618358"/>
              <a:gd name="connsiteY0" fmla="*/ 6350 h 7344465"/>
              <a:gd name="connsiteX1" fmla="*/ 632939 w 4618358"/>
              <a:gd name="connsiteY1" fmla="*/ 0 h 7344465"/>
              <a:gd name="connsiteX2" fmla="*/ 3275334 w 4618358"/>
              <a:gd name="connsiteY2" fmla="*/ 6957060 h 7344465"/>
              <a:gd name="connsiteX3" fmla="*/ 3353439 w 4618358"/>
              <a:gd name="connsiteY3" fmla="*/ 6967537 h 7344465"/>
              <a:gd name="connsiteX4" fmla="*/ 716283 w 4618358"/>
              <a:gd name="connsiteY4" fmla="*/ 0 h 7344465"/>
              <a:gd name="connsiteX5" fmla="*/ 1954533 w 4618358"/>
              <a:gd name="connsiteY5" fmla="*/ 0 h 7344465"/>
              <a:gd name="connsiteX6" fmla="*/ 4618358 w 4618358"/>
              <a:gd name="connsiteY6" fmla="*/ 6972300 h 7344465"/>
              <a:gd name="connsiteX7" fmla="*/ 3357884 w 4618358"/>
              <a:gd name="connsiteY7" fmla="*/ 6959600 h 7344465"/>
              <a:gd name="connsiteX8" fmla="*/ 3246124 w 4618358"/>
              <a:gd name="connsiteY8" fmla="*/ 6951980 h 7344465"/>
              <a:gd name="connsiteX9" fmla="*/ 2043434 w 4618358"/>
              <a:gd name="connsiteY9" fmla="*/ 6959600 h 7344465"/>
              <a:gd name="connsiteX10" fmla="*/ 1941834 w 4618358"/>
              <a:gd name="connsiteY10" fmla="*/ 6965950 h 7344465"/>
              <a:gd name="connsiteX11" fmla="*/ 38314 w 4618358"/>
              <a:gd name="connsiteY11" fmla="*/ 6965950 h 7344465"/>
              <a:gd name="connsiteX12" fmla="*/ 29691 w 4618358"/>
              <a:gd name="connsiteY12" fmla="*/ 1860817 h 7344465"/>
              <a:gd name="connsiteX13" fmla="*/ 1979676 w 4618358"/>
              <a:gd name="connsiteY13" fmla="*/ 6969660 h 7344465"/>
              <a:gd name="connsiteX14" fmla="*/ 2041054 w 4618358"/>
              <a:gd name="connsiteY14" fmla="*/ 6956425 h 7344465"/>
              <a:gd name="connsiteX15" fmla="*/ 21752 w 4618358"/>
              <a:gd name="connsiteY15" fmla="*/ 1629569 h 7344465"/>
              <a:gd name="connsiteX16" fmla="*/ 214 w 4618358"/>
              <a:gd name="connsiteY16" fmla="*/ 6350 h 7344465"/>
              <a:gd name="connsiteX0" fmla="*/ 214 w 4618358"/>
              <a:gd name="connsiteY0" fmla="*/ 6350 h 6979468"/>
              <a:gd name="connsiteX1" fmla="*/ 632939 w 4618358"/>
              <a:gd name="connsiteY1" fmla="*/ 0 h 6979468"/>
              <a:gd name="connsiteX2" fmla="*/ 3275334 w 4618358"/>
              <a:gd name="connsiteY2" fmla="*/ 6957060 h 6979468"/>
              <a:gd name="connsiteX3" fmla="*/ 3353439 w 4618358"/>
              <a:gd name="connsiteY3" fmla="*/ 6967537 h 6979468"/>
              <a:gd name="connsiteX4" fmla="*/ 716283 w 4618358"/>
              <a:gd name="connsiteY4" fmla="*/ 0 h 6979468"/>
              <a:gd name="connsiteX5" fmla="*/ 1954533 w 4618358"/>
              <a:gd name="connsiteY5" fmla="*/ 0 h 6979468"/>
              <a:gd name="connsiteX6" fmla="*/ 4618358 w 4618358"/>
              <a:gd name="connsiteY6" fmla="*/ 6972300 h 6979468"/>
              <a:gd name="connsiteX7" fmla="*/ 3357884 w 4618358"/>
              <a:gd name="connsiteY7" fmla="*/ 6959600 h 6979468"/>
              <a:gd name="connsiteX8" fmla="*/ 3246124 w 4618358"/>
              <a:gd name="connsiteY8" fmla="*/ 6951980 h 6979468"/>
              <a:gd name="connsiteX9" fmla="*/ 2043434 w 4618358"/>
              <a:gd name="connsiteY9" fmla="*/ 6959600 h 6979468"/>
              <a:gd name="connsiteX10" fmla="*/ 1941834 w 4618358"/>
              <a:gd name="connsiteY10" fmla="*/ 6965950 h 6979468"/>
              <a:gd name="connsiteX11" fmla="*/ 38314 w 4618358"/>
              <a:gd name="connsiteY11" fmla="*/ 6965950 h 6979468"/>
              <a:gd name="connsiteX12" fmla="*/ 29691 w 4618358"/>
              <a:gd name="connsiteY12" fmla="*/ 1860817 h 6979468"/>
              <a:gd name="connsiteX13" fmla="*/ 1979676 w 4618358"/>
              <a:gd name="connsiteY13" fmla="*/ 6969660 h 6979468"/>
              <a:gd name="connsiteX14" fmla="*/ 2041054 w 4618358"/>
              <a:gd name="connsiteY14" fmla="*/ 6956425 h 6979468"/>
              <a:gd name="connsiteX15" fmla="*/ 21752 w 4618358"/>
              <a:gd name="connsiteY15" fmla="*/ 1629569 h 6979468"/>
              <a:gd name="connsiteX16" fmla="*/ 214 w 4618358"/>
              <a:gd name="connsiteY16" fmla="*/ 6350 h 6979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8358" h="6979468">
                <a:moveTo>
                  <a:pt x="214" y="6350"/>
                </a:moveTo>
                <a:lnTo>
                  <a:pt x="632939" y="0"/>
                </a:lnTo>
                <a:lnTo>
                  <a:pt x="3275334" y="6957060"/>
                </a:lnTo>
                <a:lnTo>
                  <a:pt x="3353439" y="6967537"/>
                </a:lnTo>
                <a:lnTo>
                  <a:pt x="716283" y="0"/>
                </a:lnTo>
                <a:lnTo>
                  <a:pt x="1954533" y="0"/>
                </a:lnTo>
                <a:lnTo>
                  <a:pt x="4618358" y="6972300"/>
                </a:lnTo>
                <a:lnTo>
                  <a:pt x="3357884" y="6959600"/>
                </a:lnTo>
                <a:lnTo>
                  <a:pt x="3246124" y="6951980"/>
                </a:lnTo>
                <a:lnTo>
                  <a:pt x="2043434" y="6959600"/>
                </a:lnTo>
                <a:lnTo>
                  <a:pt x="1941834" y="6965950"/>
                </a:lnTo>
                <a:lnTo>
                  <a:pt x="38314" y="6965950"/>
                </a:lnTo>
                <a:cubicBezTo>
                  <a:pt x="44664" y="6792383"/>
                  <a:pt x="25704" y="1869812"/>
                  <a:pt x="29691" y="1860817"/>
                </a:cubicBezTo>
                <a:cubicBezTo>
                  <a:pt x="33678" y="1866109"/>
                  <a:pt x="1961949" y="6942717"/>
                  <a:pt x="1979676" y="6969660"/>
                </a:cubicBezTo>
                <a:cubicBezTo>
                  <a:pt x="1997403" y="6996603"/>
                  <a:pt x="2041583" y="6959864"/>
                  <a:pt x="2041054" y="6956425"/>
                </a:cubicBezTo>
                <a:cubicBezTo>
                  <a:pt x="2045287" y="6898217"/>
                  <a:pt x="14626" y="1635390"/>
                  <a:pt x="21752" y="1629569"/>
                </a:cubicBezTo>
                <a:cubicBezTo>
                  <a:pt x="19600" y="1632744"/>
                  <a:pt x="-2396" y="546100"/>
                  <a:pt x="214" y="6350"/>
                </a:cubicBezTo>
                <a:close/>
              </a:path>
            </a:pathLst>
          </a:custGeom>
          <a:solidFill>
            <a:schemeClr val="bg1">
              <a:lumMod val="65000"/>
            </a:schemeClr>
          </a:solidFill>
        </p:spPr>
        <p:txBody>
          <a:bodyPr lIns="684000" tIns="3096000"/>
          <a:lstStyle>
            <a:lvl1pPr>
              <a:defRPr sz="1200" b="1">
                <a:solidFill>
                  <a:schemeClr val="tx1"/>
                </a:solidFill>
              </a:defRPr>
            </a:lvl1pPr>
          </a:lstStyle>
          <a:p>
            <a:r>
              <a:rPr lang="en-AU" dirty="0"/>
              <a:t>               Picture</a:t>
            </a:r>
            <a:endParaRPr lang="en-US" dirty="0"/>
          </a:p>
        </p:txBody>
      </p:sp>
      <p:sp>
        <p:nvSpPr>
          <p:cNvPr id="2" name="Title 1"/>
          <p:cNvSpPr>
            <a:spLocks noGrp="1"/>
          </p:cNvSpPr>
          <p:nvPr>
            <p:ph type="title"/>
          </p:nvPr>
        </p:nvSpPr>
        <p:spPr>
          <a:xfrm>
            <a:off x="4511674" y="398977"/>
            <a:ext cx="4244975" cy="800867"/>
          </a:xfrm>
        </p:spPr>
        <p:txBody>
          <a:bodyPr/>
          <a:lstStyle/>
          <a:p>
            <a:r>
              <a:rPr lang="en-US" dirty="0"/>
              <a:t>Click to edit Master title style</a:t>
            </a:r>
          </a:p>
        </p:txBody>
      </p:sp>
      <p:sp>
        <p:nvSpPr>
          <p:cNvPr id="10" name="Parallelogram 9"/>
          <p:cNvSpPr/>
          <p:nvPr userDrawn="1"/>
        </p:nvSpPr>
        <p:spPr>
          <a:xfrm>
            <a:off x="4511674" y="1364891"/>
            <a:ext cx="720000" cy="60959"/>
          </a:xfrm>
          <a:prstGeom prst="parallelogram">
            <a:avLst>
              <a:gd name="adj" fmla="val 3799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42612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1 Pictures with headings - white">
    <p:spTree>
      <p:nvGrpSpPr>
        <p:cNvPr id="1" name=""/>
        <p:cNvGrpSpPr/>
        <p:nvPr/>
      </p:nvGrpSpPr>
      <p:grpSpPr>
        <a:xfrm>
          <a:off x="0" y="0"/>
          <a:ext cx="0" cy="0"/>
          <a:chOff x="0" y="0"/>
          <a:chExt cx="0" cy="0"/>
        </a:xfrm>
      </p:grpSpPr>
      <p:sp>
        <p:nvSpPr>
          <p:cNvPr id="30" name="Picture Placeholder 26"/>
          <p:cNvSpPr>
            <a:spLocks noGrp="1"/>
          </p:cNvSpPr>
          <p:nvPr>
            <p:ph type="pic" sz="quarter" idx="13"/>
          </p:nvPr>
        </p:nvSpPr>
        <p:spPr>
          <a:xfrm>
            <a:off x="-771525" y="346559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3" name="Picture Placeholder 26"/>
          <p:cNvSpPr>
            <a:spLocks noGrp="1"/>
          </p:cNvSpPr>
          <p:nvPr>
            <p:ph type="pic" sz="quarter" idx="16"/>
          </p:nvPr>
        </p:nvSpPr>
        <p:spPr>
          <a:xfrm>
            <a:off x="552450" y="-12927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18" name="Text Placeholder 36"/>
          <p:cNvSpPr>
            <a:spLocks noGrp="1"/>
          </p:cNvSpPr>
          <p:nvPr>
            <p:ph type="body" sz="quarter" idx="25"/>
          </p:nvPr>
        </p:nvSpPr>
        <p:spPr>
          <a:xfrm>
            <a:off x="545306" y="287660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5" name="Text Placeholder 36"/>
          <p:cNvSpPr>
            <a:spLocks noGrp="1"/>
          </p:cNvSpPr>
          <p:nvPr>
            <p:ph type="body" sz="quarter" idx="26"/>
          </p:nvPr>
        </p:nvSpPr>
        <p:spPr>
          <a:xfrm>
            <a:off x="321469" y="347747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9" name="Picture Placeholder 26"/>
          <p:cNvSpPr>
            <a:spLocks noGrp="1"/>
          </p:cNvSpPr>
          <p:nvPr>
            <p:ph type="pic" sz="quarter" idx="27"/>
          </p:nvPr>
        </p:nvSpPr>
        <p:spPr>
          <a:xfrm>
            <a:off x="1872615" y="346559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6" name="Picture Placeholder 26"/>
          <p:cNvSpPr>
            <a:spLocks noGrp="1"/>
          </p:cNvSpPr>
          <p:nvPr>
            <p:ph type="pic" sz="quarter" idx="28"/>
          </p:nvPr>
        </p:nvSpPr>
        <p:spPr>
          <a:xfrm>
            <a:off x="3196590" y="-12927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43" name="Text Placeholder 36"/>
          <p:cNvSpPr>
            <a:spLocks noGrp="1"/>
          </p:cNvSpPr>
          <p:nvPr>
            <p:ph type="body" sz="quarter" idx="29"/>
          </p:nvPr>
        </p:nvSpPr>
        <p:spPr>
          <a:xfrm>
            <a:off x="3189446" y="287660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4" name="Text Placeholder 36"/>
          <p:cNvSpPr>
            <a:spLocks noGrp="1"/>
          </p:cNvSpPr>
          <p:nvPr>
            <p:ph type="body" sz="quarter" idx="30"/>
          </p:nvPr>
        </p:nvSpPr>
        <p:spPr>
          <a:xfrm>
            <a:off x="2965609" y="347747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5" name="Picture Placeholder 26"/>
          <p:cNvSpPr>
            <a:spLocks noGrp="1"/>
          </p:cNvSpPr>
          <p:nvPr>
            <p:ph type="pic" sz="quarter" idx="31"/>
          </p:nvPr>
        </p:nvSpPr>
        <p:spPr>
          <a:xfrm>
            <a:off x="4509136" y="3465595"/>
            <a:ext cx="3987164"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46" name="Picture Placeholder 26"/>
          <p:cNvSpPr>
            <a:spLocks noGrp="1"/>
          </p:cNvSpPr>
          <p:nvPr>
            <p:ph type="pic" sz="quarter" idx="32"/>
          </p:nvPr>
        </p:nvSpPr>
        <p:spPr>
          <a:xfrm>
            <a:off x="5833110" y="-129275"/>
            <a:ext cx="3977640"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47" name="Text Placeholder 36"/>
          <p:cNvSpPr>
            <a:spLocks noGrp="1"/>
          </p:cNvSpPr>
          <p:nvPr>
            <p:ph type="body" sz="quarter" idx="33"/>
          </p:nvPr>
        </p:nvSpPr>
        <p:spPr>
          <a:xfrm>
            <a:off x="5831790" y="287660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8" name="Text Placeholder 36"/>
          <p:cNvSpPr>
            <a:spLocks noGrp="1"/>
          </p:cNvSpPr>
          <p:nvPr>
            <p:ph type="body" sz="quarter" idx="34"/>
          </p:nvPr>
        </p:nvSpPr>
        <p:spPr>
          <a:xfrm>
            <a:off x="5607953" y="347747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1975487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2 Pictures with headings - white">
    <p:bg>
      <p:bgPr>
        <a:solidFill>
          <a:schemeClr val="bg1"/>
        </a:solidFill>
        <a:effectLst/>
      </p:bgPr>
    </p:bg>
    <p:spTree>
      <p:nvGrpSpPr>
        <p:cNvPr id="1" name=""/>
        <p:cNvGrpSpPr/>
        <p:nvPr/>
      </p:nvGrpSpPr>
      <p:grpSpPr>
        <a:xfrm>
          <a:off x="0" y="0"/>
          <a:ext cx="0" cy="0"/>
          <a:chOff x="0" y="0"/>
          <a:chExt cx="0" cy="0"/>
        </a:xfrm>
      </p:grpSpPr>
      <p:sp>
        <p:nvSpPr>
          <p:cNvPr id="30" name="Picture Placeholder 26"/>
          <p:cNvSpPr>
            <a:spLocks noGrp="1"/>
          </p:cNvSpPr>
          <p:nvPr>
            <p:ph type="pic" sz="quarter" idx="13"/>
          </p:nvPr>
        </p:nvSpPr>
        <p:spPr>
          <a:xfrm>
            <a:off x="-771525" y="346559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1" name="Picture Placeholder 26"/>
          <p:cNvSpPr>
            <a:spLocks noGrp="1"/>
          </p:cNvSpPr>
          <p:nvPr>
            <p:ph type="pic" sz="quarter" idx="14"/>
          </p:nvPr>
        </p:nvSpPr>
        <p:spPr>
          <a:xfrm>
            <a:off x="1899779" y="346559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2" name="Picture Placeholder 26"/>
          <p:cNvSpPr>
            <a:spLocks noGrp="1"/>
          </p:cNvSpPr>
          <p:nvPr>
            <p:ph type="pic" sz="quarter" idx="15"/>
          </p:nvPr>
        </p:nvSpPr>
        <p:spPr>
          <a:xfrm>
            <a:off x="4580608" y="346559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3" name="Picture Placeholder 26"/>
          <p:cNvSpPr>
            <a:spLocks noGrp="1"/>
          </p:cNvSpPr>
          <p:nvPr>
            <p:ph type="pic" sz="quarter" idx="16"/>
          </p:nvPr>
        </p:nvSpPr>
        <p:spPr>
          <a:xfrm>
            <a:off x="552450" y="-12927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4" name="Picture Placeholder 26"/>
          <p:cNvSpPr>
            <a:spLocks noGrp="1"/>
          </p:cNvSpPr>
          <p:nvPr>
            <p:ph type="pic" sz="quarter" idx="17"/>
          </p:nvPr>
        </p:nvSpPr>
        <p:spPr>
          <a:xfrm>
            <a:off x="3223754" y="-12927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5" name="Picture Placeholder 26"/>
          <p:cNvSpPr>
            <a:spLocks noGrp="1"/>
          </p:cNvSpPr>
          <p:nvPr>
            <p:ph type="pic" sz="quarter" idx="18"/>
          </p:nvPr>
        </p:nvSpPr>
        <p:spPr>
          <a:xfrm>
            <a:off x="5904583" y="-12927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7" name="Text Placeholder 36"/>
          <p:cNvSpPr>
            <a:spLocks noGrp="1"/>
          </p:cNvSpPr>
          <p:nvPr>
            <p:ph type="body" sz="quarter" idx="19"/>
          </p:nvPr>
        </p:nvSpPr>
        <p:spPr>
          <a:xfrm>
            <a:off x="-190500" y="59150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38" name="Text Placeholder 36"/>
          <p:cNvSpPr>
            <a:spLocks noGrp="1"/>
          </p:cNvSpPr>
          <p:nvPr>
            <p:ph type="body" sz="quarter" idx="20"/>
          </p:nvPr>
        </p:nvSpPr>
        <p:spPr>
          <a:xfrm>
            <a:off x="4591050" y="361950"/>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39" name="Text Placeholder 36"/>
          <p:cNvSpPr>
            <a:spLocks noGrp="1"/>
          </p:cNvSpPr>
          <p:nvPr>
            <p:ph type="body" sz="quarter" idx="21"/>
          </p:nvPr>
        </p:nvSpPr>
        <p:spPr>
          <a:xfrm>
            <a:off x="3324225" y="3714750"/>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1" name="Text Placeholder 36"/>
          <p:cNvSpPr>
            <a:spLocks noGrp="1"/>
          </p:cNvSpPr>
          <p:nvPr>
            <p:ph type="body" sz="quarter" idx="23"/>
          </p:nvPr>
        </p:nvSpPr>
        <p:spPr>
          <a:xfrm>
            <a:off x="5172075" y="59150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2" name="Text Placeholder 36"/>
          <p:cNvSpPr>
            <a:spLocks noGrp="1"/>
          </p:cNvSpPr>
          <p:nvPr>
            <p:ph type="body" sz="quarter" idx="24"/>
          </p:nvPr>
        </p:nvSpPr>
        <p:spPr>
          <a:xfrm>
            <a:off x="6400800" y="26003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5" name="Text Placeholder 36"/>
          <p:cNvSpPr>
            <a:spLocks noGrp="1"/>
          </p:cNvSpPr>
          <p:nvPr>
            <p:ph type="body" sz="quarter" idx="25"/>
          </p:nvPr>
        </p:nvSpPr>
        <p:spPr>
          <a:xfrm>
            <a:off x="990600" y="26003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6018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3 Pictures and heading - white">
    <p:bg>
      <p:bgPr>
        <a:solidFill>
          <a:schemeClr val="bg1"/>
        </a:solidFill>
        <a:effectLst/>
      </p:bgPr>
    </p:bg>
    <p:spTree>
      <p:nvGrpSpPr>
        <p:cNvPr id="1" name=""/>
        <p:cNvGrpSpPr/>
        <p:nvPr/>
      </p:nvGrpSpPr>
      <p:grpSpPr>
        <a:xfrm>
          <a:off x="0" y="0"/>
          <a:ext cx="0" cy="0"/>
          <a:chOff x="0" y="0"/>
          <a:chExt cx="0" cy="0"/>
        </a:xfrm>
      </p:grpSpPr>
      <p:sp>
        <p:nvSpPr>
          <p:cNvPr id="30" name="Picture Placeholder 26"/>
          <p:cNvSpPr>
            <a:spLocks noGrp="1"/>
          </p:cNvSpPr>
          <p:nvPr>
            <p:ph type="pic" sz="quarter" idx="13"/>
          </p:nvPr>
        </p:nvSpPr>
        <p:spPr>
          <a:xfrm>
            <a:off x="-7510" y="3427229"/>
            <a:ext cx="3863072" cy="3476625"/>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1" name="Picture Placeholder 26"/>
          <p:cNvSpPr>
            <a:spLocks noGrp="1"/>
          </p:cNvSpPr>
          <p:nvPr>
            <p:ph type="pic" sz="quarter" idx="14"/>
          </p:nvPr>
        </p:nvSpPr>
        <p:spPr>
          <a:xfrm>
            <a:off x="2579646" y="3427229"/>
            <a:ext cx="3863072" cy="3476625"/>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3" name="Picture Placeholder 26"/>
          <p:cNvSpPr>
            <a:spLocks noGrp="1"/>
          </p:cNvSpPr>
          <p:nvPr>
            <p:ph type="pic" sz="quarter" idx="16"/>
          </p:nvPr>
        </p:nvSpPr>
        <p:spPr>
          <a:xfrm>
            <a:off x="1267779" y="-47517"/>
            <a:ext cx="3863072" cy="3476625"/>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4" name="Picture Placeholder 26"/>
          <p:cNvSpPr>
            <a:spLocks noGrp="1"/>
          </p:cNvSpPr>
          <p:nvPr>
            <p:ph type="pic" sz="quarter" idx="17"/>
          </p:nvPr>
        </p:nvSpPr>
        <p:spPr>
          <a:xfrm>
            <a:off x="3858119" y="-47517"/>
            <a:ext cx="3863072" cy="3476625"/>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2" name="Title 1"/>
          <p:cNvSpPr>
            <a:spLocks noGrp="1"/>
          </p:cNvSpPr>
          <p:nvPr>
            <p:ph type="title"/>
          </p:nvPr>
        </p:nvSpPr>
        <p:spPr>
          <a:xfrm>
            <a:off x="6096000" y="4543426"/>
            <a:ext cx="2638424" cy="1495424"/>
          </a:xfrm>
        </p:spPr>
        <p:txBody>
          <a:bodyPr/>
          <a:lstStyle>
            <a:lvl1pPr algn="r">
              <a:lnSpc>
                <a:spcPct val="100000"/>
              </a:lnSpc>
              <a:defRPr sz="36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073251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4 Pictures with heading -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318250" y="733426"/>
            <a:ext cx="2425699" cy="1495424"/>
          </a:xfrm>
        </p:spPr>
        <p:txBody>
          <a:bodyPr/>
          <a:lstStyle>
            <a:lvl1pPr algn="r">
              <a:lnSpc>
                <a:spcPct val="100000"/>
              </a:lnSpc>
              <a:defRPr sz="3600">
                <a:solidFill>
                  <a:schemeClr val="tx1"/>
                </a:solidFill>
              </a:defRPr>
            </a:lvl1pPr>
          </a:lstStyle>
          <a:p>
            <a:r>
              <a:rPr lang="en-US" dirty="0"/>
              <a:t>Click to edit Master title style</a:t>
            </a:r>
          </a:p>
        </p:txBody>
      </p:sp>
      <p:sp>
        <p:nvSpPr>
          <p:cNvPr id="4" name="Picture Placeholder 3"/>
          <p:cNvSpPr>
            <a:spLocks noGrp="1"/>
          </p:cNvSpPr>
          <p:nvPr>
            <p:ph type="pic" sz="quarter" idx="14"/>
          </p:nvPr>
        </p:nvSpPr>
        <p:spPr>
          <a:xfrm>
            <a:off x="2676426" y="-7620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50000"/>
            </a:schemeClr>
          </a:solidFill>
        </p:spPr>
        <p:txBody>
          <a:bodyPr tIns="1296000"/>
          <a:lstStyle>
            <a:lvl1pPr algn="ctr">
              <a:defRPr sz="1100" b="1">
                <a:solidFill>
                  <a:schemeClr val="bg1"/>
                </a:solidFill>
              </a:defRPr>
            </a:lvl1pPr>
          </a:lstStyle>
          <a:p>
            <a:endParaRPr lang="en-US"/>
          </a:p>
        </p:txBody>
      </p:sp>
      <p:sp>
        <p:nvSpPr>
          <p:cNvPr id="10" name="Picture Placeholder 3"/>
          <p:cNvSpPr>
            <a:spLocks noGrp="1"/>
          </p:cNvSpPr>
          <p:nvPr>
            <p:ph type="pic" sz="quarter" idx="15"/>
          </p:nvPr>
        </p:nvSpPr>
        <p:spPr>
          <a:xfrm>
            <a:off x="-44549" y="-7620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65000"/>
            </a:schemeClr>
          </a:solidFill>
        </p:spPr>
        <p:txBody>
          <a:bodyPr tIns="1296000"/>
          <a:lstStyle>
            <a:lvl1pPr algn="ctr">
              <a:defRPr sz="1100" b="1">
                <a:solidFill>
                  <a:schemeClr val="bg1"/>
                </a:solidFill>
              </a:defRPr>
            </a:lvl1pPr>
          </a:lstStyle>
          <a:p>
            <a:endParaRPr lang="en-US"/>
          </a:p>
        </p:txBody>
      </p:sp>
      <p:sp>
        <p:nvSpPr>
          <p:cNvPr id="11" name="Picture Placeholder 3"/>
          <p:cNvSpPr>
            <a:spLocks noGrp="1"/>
          </p:cNvSpPr>
          <p:nvPr>
            <p:ph type="pic" sz="quarter" idx="16"/>
          </p:nvPr>
        </p:nvSpPr>
        <p:spPr>
          <a:xfrm>
            <a:off x="4009926" y="343535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65000"/>
            </a:schemeClr>
          </a:solidFill>
        </p:spPr>
        <p:txBody>
          <a:bodyPr tIns="1296000"/>
          <a:lstStyle>
            <a:lvl1pPr algn="ctr">
              <a:defRPr sz="1100" b="1">
                <a:solidFill>
                  <a:schemeClr val="bg1"/>
                </a:solidFill>
              </a:defRPr>
            </a:lvl1pPr>
          </a:lstStyle>
          <a:p>
            <a:endParaRPr lang="en-US"/>
          </a:p>
        </p:txBody>
      </p:sp>
      <p:sp>
        <p:nvSpPr>
          <p:cNvPr id="12" name="Picture Placeholder 3"/>
          <p:cNvSpPr>
            <a:spLocks noGrp="1"/>
          </p:cNvSpPr>
          <p:nvPr>
            <p:ph type="pic" sz="quarter" idx="17"/>
          </p:nvPr>
        </p:nvSpPr>
        <p:spPr>
          <a:xfrm>
            <a:off x="1282601" y="343535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50000"/>
            </a:schemeClr>
          </a:solidFill>
        </p:spPr>
        <p:txBody>
          <a:bodyPr tIns="1296000"/>
          <a:lstStyle>
            <a:lvl1pPr algn="ctr">
              <a:defRPr sz="1100" b="1">
                <a:solidFill>
                  <a:schemeClr val="bg1"/>
                </a:solidFill>
              </a:defRPr>
            </a:lvl1pPr>
          </a:lstStyle>
          <a:p>
            <a:endParaRPr lang="en-US"/>
          </a:p>
        </p:txBody>
      </p:sp>
    </p:spTree>
    <p:extLst>
      <p:ext uri="{BB962C8B-B14F-4D97-AF65-F5344CB8AC3E}">
        <p14:creationId xmlns:p14="http://schemas.microsoft.com/office/powerpoint/2010/main" val="1538558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6_Body with image white">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4511674" y="1822450"/>
            <a:ext cx="4283075" cy="4641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14"/>
          <p:cNvSpPr>
            <a:spLocks noGrp="1"/>
          </p:cNvSpPr>
          <p:nvPr>
            <p:ph type="pic" sz="quarter" idx="12" hasCustomPrompt="1"/>
          </p:nvPr>
        </p:nvSpPr>
        <p:spPr>
          <a:xfrm>
            <a:off x="-74933" y="-76200"/>
            <a:ext cx="4618358" cy="6979468"/>
          </a:xfrm>
          <a:custGeom>
            <a:avLst/>
            <a:gdLst>
              <a:gd name="connsiteX0" fmla="*/ 0 w 4618144"/>
              <a:gd name="connsiteY0" fmla="*/ 0 h 6965950"/>
              <a:gd name="connsiteX1" fmla="*/ 4618144 w 4618144"/>
              <a:gd name="connsiteY1" fmla="*/ 0 h 6965950"/>
              <a:gd name="connsiteX2" fmla="*/ 4618144 w 4618144"/>
              <a:gd name="connsiteY2" fmla="*/ 6965950 h 6965950"/>
              <a:gd name="connsiteX3" fmla="*/ 0 w 4618144"/>
              <a:gd name="connsiteY3" fmla="*/ 6965950 h 6965950"/>
              <a:gd name="connsiteX4" fmla="*/ 0 w 4618144"/>
              <a:gd name="connsiteY4" fmla="*/ 0 h 6965950"/>
              <a:gd name="connsiteX0" fmla="*/ 0 w 4618144"/>
              <a:gd name="connsiteY0" fmla="*/ 6350 h 6972300"/>
              <a:gd name="connsiteX1" fmla="*/ 1954319 w 4618144"/>
              <a:gd name="connsiteY1" fmla="*/ 0 h 6972300"/>
              <a:gd name="connsiteX2" fmla="*/ 4618144 w 4618144"/>
              <a:gd name="connsiteY2" fmla="*/ 6350 h 6972300"/>
              <a:gd name="connsiteX3" fmla="*/ 4618144 w 4618144"/>
              <a:gd name="connsiteY3" fmla="*/ 6972300 h 6972300"/>
              <a:gd name="connsiteX4" fmla="*/ 0 w 4618144"/>
              <a:gd name="connsiteY4" fmla="*/ 6972300 h 6972300"/>
              <a:gd name="connsiteX5" fmla="*/ 0 w 4618144"/>
              <a:gd name="connsiteY5" fmla="*/ 6350 h 6972300"/>
              <a:gd name="connsiteX0" fmla="*/ 0 w 4618144"/>
              <a:gd name="connsiteY0" fmla="*/ 6350 h 6972300"/>
              <a:gd name="connsiteX1" fmla="*/ 716069 w 4618144"/>
              <a:gd name="connsiteY1" fmla="*/ 0 h 6972300"/>
              <a:gd name="connsiteX2" fmla="*/ 1954319 w 4618144"/>
              <a:gd name="connsiteY2" fmla="*/ 0 h 6972300"/>
              <a:gd name="connsiteX3" fmla="*/ 4618144 w 4618144"/>
              <a:gd name="connsiteY3" fmla="*/ 6350 h 6972300"/>
              <a:gd name="connsiteX4" fmla="*/ 4618144 w 4618144"/>
              <a:gd name="connsiteY4" fmla="*/ 6972300 h 6972300"/>
              <a:gd name="connsiteX5" fmla="*/ 0 w 4618144"/>
              <a:gd name="connsiteY5" fmla="*/ 6972300 h 6972300"/>
              <a:gd name="connsiteX6" fmla="*/ 0 w 4618144"/>
              <a:gd name="connsiteY6" fmla="*/ 6350 h 6972300"/>
              <a:gd name="connsiteX0" fmla="*/ 0 w 4618144"/>
              <a:gd name="connsiteY0" fmla="*/ 6350 h 6972300"/>
              <a:gd name="connsiteX1" fmla="*/ 620819 w 4618144"/>
              <a:gd name="connsiteY1" fmla="*/ 0 h 6972300"/>
              <a:gd name="connsiteX2" fmla="*/ 716069 w 4618144"/>
              <a:gd name="connsiteY2" fmla="*/ 0 h 6972300"/>
              <a:gd name="connsiteX3" fmla="*/ 1954319 w 4618144"/>
              <a:gd name="connsiteY3" fmla="*/ 0 h 6972300"/>
              <a:gd name="connsiteX4" fmla="*/ 4618144 w 4618144"/>
              <a:gd name="connsiteY4" fmla="*/ 6350 h 6972300"/>
              <a:gd name="connsiteX5" fmla="*/ 4618144 w 4618144"/>
              <a:gd name="connsiteY5" fmla="*/ 6972300 h 6972300"/>
              <a:gd name="connsiteX6" fmla="*/ 0 w 4618144"/>
              <a:gd name="connsiteY6" fmla="*/ 6972300 h 6972300"/>
              <a:gd name="connsiteX7" fmla="*/ 0 w 4618144"/>
              <a:gd name="connsiteY7" fmla="*/ 6350 h 6972300"/>
              <a:gd name="connsiteX0" fmla="*/ 7831 w 4625975"/>
              <a:gd name="connsiteY0" fmla="*/ 6350 h 6972300"/>
              <a:gd name="connsiteX1" fmla="*/ 628650 w 4625975"/>
              <a:gd name="connsiteY1" fmla="*/ 0 h 6972300"/>
              <a:gd name="connsiteX2" fmla="*/ 723900 w 4625975"/>
              <a:gd name="connsiteY2" fmla="*/ 0 h 6972300"/>
              <a:gd name="connsiteX3" fmla="*/ 1962150 w 4625975"/>
              <a:gd name="connsiteY3" fmla="*/ 0 h 6972300"/>
              <a:gd name="connsiteX4" fmla="*/ 4625975 w 4625975"/>
              <a:gd name="connsiteY4" fmla="*/ 6350 h 6972300"/>
              <a:gd name="connsiteX5" fmla="*/ 4625975 w 4625975"/>
              <a:gd name="connsiteY5" fmla="*/ 6972300 h 6972300"/>
              <a:gd name="connsiteX6" fmla="*/ 7831 w 4625975"/>
              <a:gd name="connsiteY6" fmla="*/ 6972300 h 6972300"/>
              <a:gd name="connsiteX7" fmla="*/ 0 w 4625975"/>
              <a:gd name="connsiteY7" fmla="*/ 1625600 h 6972300"/>
              <a:gd name="connsiteX8" fmla="*/ 7831 w 4625975"/>
              <a:gd name="connsiteY8"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46555 w 4964699"/>
              <a:gd name="connsiteY6" fmla="*/ 6972300 h 6972300"/>
              <a:gd name="connsiteX7" fmla="*/ 332375 w 4964699"/>
              <a:gd name="connsiteY7" fmla="*/ 1841500 h 6972300"/>
              <a:gd name="connsiteX8" fmla="*/ 338724 w 4964699"/>
              <a:gd name="connsiteY8" fmla="*/ 1625600 h 6972300"/>
              <a:gd name="connsiteX9" fmla="*/ 346555 w 4964699"/>
              <a:gd name="connsiteY9"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2288175 w 4964699"/>
              <a:gd name="connsiteY6" fmla="*/ 6965950 h 6972300"/>
              <a:gd name="connsiteX7" fmla="*/ 346555 w 4964699"/>
              <a:gd name="connsiteY7" fmla="*/ 6972300 h 6972300"/>
              <a:gd name="connsiteX8" fmla="*/ 332375 w 4964699"/>
              <a:gd name="connsiteY8" fmla="*/ 1841500 h 6972300"/>
              <a:gd name="connsiteX9" fmla="*/ 338724 w 4964699"/>
              <a:gd name="connsiteY9" fmla="*/ 1625600 h 6972300"/>
              <a:gd name="connsiteX10" fmla="*/ 346555 w 4964699"/>
              <a:gd name="connsiteY10"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2389775 w 4964699"/>
              <a:gd name="connsiteY6" fmla="*/ 6959600 h 6972300"/>
              <a:gd name="connsiteX7" fmla="*/ 2288175 w 4964699"/>
              <a:gd name="connsiteY7" fmla="*/ 6965950 h 6972300"/>
              <a:gd name="connsiteX8" fmla="*/ 346555 w 4964699"/>
              <a:gd name="connsiteY8" fmla="*/ 6972300 h 6972300"/>
              <a:gd name="connsiteX9" fmla="*/ 332375 w 4964699"/>
              <a:gd name="connsiteY9" fmla="*/ 1841500 h 6972300"/>
              <a:gd name="connsiteX10" fmla="*/ 338724 w 4964699"/>
              <a:gd name="connsiteY10" fmla="*/ 1625600 h 6972300"/>
              <a:gd name="connsiteX11" fmla="*/ 346555 w 4964699"/>
              <a:gd name="connsiteY11"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615325 w 4964699"/>
              <a:gd name="connsiteY6" fmla="*/ 6959600 h 6972300"/>
              <a:gd name="connsiteX7" fmla="*/ 2389775 w 4964699"/>
              <a:gd name="connsiteY7" fmla="*/ 6959600 h 6972300"/>
              <a:gd name="connsiteX8" fmla="*/ 2288175 w 4964699"/>
              <a:gd name="connsiteY8" fmla="*/ 6965950 h 6972300"/>
              <a:gd name="connsiteX9" fmla="*/ 346555 w 4964699"/>
              <a:gd name="connsiteY9" fmla="*/ 6972300 h 6972300"/>
              <a:gd name="connsiteX10" fmla="*/ 332375 w 4964699"/>
              <a:gd name="connsiteY10" fmla="*/ 1841500 h 6972300"/>
              <a:gd name="connsiteX11" fmla="*/ 338724 w 4964699"/>
              <a:gd name="connsiteY11" fmla="*/ 1625600 h 6972300"/>
              <a:gd name="connsiteX12" fmla="*/ 346555 w 4964699"/>
              <a:gd name="connsiteY12"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704225 w 4964699"/>
              <a:gd name="connsiteY6" fmla="*/ 6959600 h 6972300"/>
              <a:gd name="connsiteX7" fmla="*/ 3615325 w 4964699"/>
              <a:gd name="connsiteY7" fmla="*/ 6959600 h 6972300"/>
              <a:gd name="connsiteX8" fmla="*/ 2389775 w 4964699"/>
              <a:gd name="connsiteY8" fmla="*/ 6959600 h 6972300"/>
              <a:gd name="connsiteX9" fmla="*/ 2288175 w 4964699"/>
              <a:gd name="connsiteY9" fmla="*/ 6965950 h 6972300"/>
              <a:gd name="connsiteX10" fmla="*/ 346555 w 4964699"/>
              <a:gd name="connsiteY10" fmla="*/ 6972300 h 6972300"/>
              <a:gd name="connsiteX11" fmla="*/ 332375 w 4964699"/>
              <a:gd name="connsiteY11" fmla="*/ 1841500 h 6972300"/>
              <a:gd name="connsiteX12" fmla="*/ 338724 w 4964699"/>
              <a:gd name="connsiteY12" fmla="*/ 1625600 h 6972300"/>
              <a:gd name="connsiteX13" fmla="*/ 346555 w 4964699"/>
              <a:gd name="connsiteY13" fmla="*/ 6350 h 6972300"/>
              <a:gd name="connsiteX0" fmla="*/ 346555 w 4964699"/>
              <a:gd name="connsiteY0" fmla="*/ 11113 h 6977063"/>
              <a:gd name="connsiteX1" fmla="*/ 967374 w 4964699"/>
              <a:gd name="connsiteY1" fmla="*/ 4763 h 6977063"/>
              <a:gd name="connsiteX2" fmla="*/ 1026113 w 4964699"/>
              <a:gd name="connsiteY2" fmla="*/ 0 h 6977063"/>
              <a:gd name="connsiteX3" fmla="*/ 1062624 w 4964699"/>
              <a:gd name="connsiteY3" fmla="*/ 4763 h 6977063"/>
              <a:gd name="connsiteX4" fmla="*/ 2300874 w 4964699"/>
              <a:gd name="connsiteY4" fmla="*/ 4763 h 6977063"/>
              <a:gd name="connsiteX5" fmla="*/ 4964699 w 4964699"/>
              <a:gd name="connsiteY5" fmla="*/ 11113 h 6977063"/>
              <a:gd name="connsiteX6" fmla="*/ 4964699 w 4964699"/>
              <a:gd name="connsiteY6" fmla="*/ 6977063 h 6977063"/>
              <a:gd name="connsiteX7" fmla="*/ 3704225 w 4964699"/>
              <a:gd name="connsiteY7" fmla="*/ 6964363 h 6977063"/>
              <a:gd name="connsiteX8" fmla="*/ 3615325 w 4964699"/>
              <a:gd name="connsiteY8" fmla="*/ 6964363 h 6977063"/>
              <a:gd name="connsiteX9" fmla="*/ 2389775 w 4964699"/>
              <a:gd name="connsiteY9" fmla="*/ 6964363 h 6977063"/>
              <a:gd name="connsiteX10" fmla="*/ 2288175 w 4964699"/>
              <a:gd name="connsiteY10" fmla="*/ 6970713 h 6977063"/>
              <a:gd name="connsiteX11" fmla="*/ 346555 w 4964699"/>
              <a:gd name="connsiteY11" fmla="*/ 6977063 h 6977063"/>
              <a:gd name="connsiteX12" fmla="*/ 332375 w 4964699"/>
              <a:gd name="connsiteY12" fmla="*/ 1846263 h 6977063"/>
              <a:gd name="connsiteX13" fmla="*/ 338724 w 4964699"/>
              <a:gd name="connsiteY13" fmla="*/ 1630363 h 6977063"/>
              <a:gd name="connsiteX14" fmla="*/ 346555 w 4964699"/>
              <a:gd name="connsiteY14" fmla="*/ 11113 h 6977063"/>
              <a:gd name="connsiteX0" fmla="*/ 346555 w 4964699"/>
              <a:gd name="connsiteY0" fmla="*/ 6350 h 6972300"/>
              <a:gd name="connsiteX1" fmla="*/ 967374 w 4964699"/>
              <a:gd name="connsiteY1" fmla="*/ 0 h 6972300"/>
              <a:gd name="connsiteX2" fmla="*/ 2526300 w 4964699"/>
              <a:gd name="connsiteY2" fmla="*/ 3881437 h 6972300"/>
              <a:gd name="connsiteX3" fmla="*/ 1062624 w 4964699"/>
              <a:gd name="connsiteY3" fmla="*/ 0 h 6972300"/>
              <a:gd name="connsiteX4" fmla="*/ 2300874 w 4964699"/>
              <a:gd name="connsiteY4" fmla="*/ 0 h 6972300"/>
              <a:gd name="connsiteX5" fmla="*/ 4964699 w 4964699"/>
              <a:gd name="connsiteY5" fmla="*/ 6350 h 6972300"/>
              <a:gd name="connsiteX6" fmla="*/ 4964699 w 4964699"/>
              <a:gd name="connsiteY6" fmla="*/ 6972300 h 6972300"/>
              <a:gd name="connsiteX7" fmla="*/ 3704225 w 4964699"/>
              <a:gd name="connsiteY7" fmla="*/ 6959600 h 6972300"/>
              <a:gd name="connsiteX8" fmla="*/ 3615325 w 4964699"/>
              <a:gd name="connsiteY8" fmla="*/ 6959600 h 6972300"/>
              <a:gd name="connsiteX9" fmla="*/ 2389775 w 4964699"/>
              <a:gd name="connsiteY9" fmla="*/ 6959600 h 6972300"/>
              <a:gd name="connsiteX10" fmla="*/ 2288175 w 4964699"/>
              <a:gd name="connsiteY10" fmla="*/ 6965950 h 6972300"/>
              <a:gd name="connsiteX11" fmla="*/ 346555 w 4964699"/>
              <a:gd name="connsiteY11" fmla="*/ 6972300 h 6972300"/>
              <a:gd name="connsiteX12" fmla="*/ 332375 w 4964699"/>
              <a:gd name="connsiteY12" fmla="*/ 1841500 h 6972300"/>
              <a:gd name="connsiteX13" fmla="*/ 338724 w 4964699"/>
              <a:gd name="connsiteY13" fmla="*/ 1625600 h 6972300"/>
              <a:gd name="connsiteX14" fmla="*/ 346555 w 4964699"/>
              <a:gd name="connsiteY14" fmla="*/ 6350 h 6972300"/>
              <a:gd name="connsiteX0" fmla="*/ 346555 w 4964699"/>
              <a:gd name="connsiteY0" fmla="*/ 6350 h 6972300"/>
              <a:gd name="connsiteX1" fmla="*/ 967374 w 4964699"/>
              <a:gd name="connsiteY1" fmla="*/ 0 h 6972300"/>
              <a:gd name="connsiteX2" fmla="*/ 3699780 w 4964699"/>
              <a:gd name="connsiteY2" fmla="*/ 6967537 h 6972300"/>
              <a:gd name="connsiteX3" fmla="*/ 1062624 w 4964699"/>
              <a:gd name="connsiteY3" fmla="*/ 0 h 6972300"/>
              <a:gd name="connsiteX4" fmla="*/ 2300874 w 4964699"/>
              <a:gd name="connsiteY4" fmla="*/ 0 h 6972300"/>
              <a:gd name="connsiteX5" fmla="*/ 4964699 w 4964699"/>
              <a:gd name="connsiteY5" fmla="*/ 6350 h 6972300"/>
              <a:gd name="connsiteX6" fmla="*/ 4964699 w 4964699"/>
              <a:gd name="connsiteY6" fmla="*/ 6972300 h 6972300"/>
              <a:gd name="connsiteX7" fmla="*/ 3704225 w 4964699"/>
              <a:gd name="connsiteY7" fmla="*/ 6959600 h 6972300"/>
              <a:gd name="connsiteX8" fmla="*/ 3615325 w 4964699"/>
              <a:gd name="connsiteY8" fmla="*/ 6959600 h 6972300"/>
              <a:gd name="connsiteX9" fmla="*/ 2389775 w 4964699"/>
              <a:gd name="connsiteY9" fmla="*/ 6959600 h 6972300"/>
              <a:gd name="connsiteX10" fmla="*/ 2288175 w 4964699"/>
              <a:gd name="connsiteY10" fmla="*/ 6965950 h 6972300"/>
              <a:gd name="connsiteX11" fmla="*/ 346555 w 4964699"/>
              <a:gd name="connsiteY11" fmla="*/ 6972300 h 6972300"/>
              <a:gd name="connsiteX12" fmla="*/ 332375 w 4964699"/>
              <a:gd name="connsiteY12" fmla="*/ 1841500 h 6972300"/>
              <a:gd name="connsiteX13" fmla="*/ 338724 w 4964699"/>
              <a:gd name="connsiteY13" fmla="*/ 1625600 h 6972300"/>
              <a:gd name="connsiteX14" fmla="*/ 346555 w 4964699"/>
              <a:gd name="connsiteY14" fmla="*/ 6350 h 6972300"/>
              <a:gd name="connsiteX0" fmla="*/ 346555 w 4964699"/>
              <a:gd name="connsiteY0" fmla="*/ 6350 h 6972300"/>
              <a:gd name="connsiteX1" fmla="*/ 967374 w 4964699"/>
              <a:gd name="connsiteY1" fmla="*/ 0 h 6972300"/>
              <a:gd name="connsiteX2" fmla="*/ 2684415 w 4964699"/>
              <a:gd name="connsiteY2" fmla="*/ 438150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615325 w 4964699"/>
              <a:gd name="connsiteY9" fmla="*/ 695960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346555 w 4964699"/>
              <a:gd name="connsiteY0" fmla="*/ 6350 h 6972300"/>
              <a:gd name="connsiteX1" fmla="*/ 967374 w 4964699"/>
              <a:gd name="connsiteY1" fmla="*/ 0 h 6972300"/>
              <a:gd name="connsiteX2" fmla="*/ 3621675 w 4964699"/>
              <a:gd name="connsiteY2" fmla="*/ 695706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615325 w 4964699"/>
              <a:gd name="connsiteY9" fmla="*/ 695960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346555 w 4964699"/>
              <a:gd name="connsiteY0" fmla="*/ 6350 h 6972300"/>
              <a:gd name="connsiteX1" fmla="*/ 967374 w 4964699"/>
              <a:gd name="connsiteY1" fmla="*/ 0 h 6972300"/>
              <a:gd name="connsiteX2" fmla="*/ 3621675 w 4964699"/>
              <a:gd name="connsiteY2" fmla="*/ 695706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592465 w 4964699"/>
              <a:gd name="connsiteY9" fmla="*/ 695198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154847 w 4772991"/>
              <a:gd name="connsiteY0" fmla="*/ 6350 h 6972300"/>
              <a:gd name="connsiteX1" fmla="*/ 775666 w 4772991"/>
              <a:gd name="connsiteY1" fmla="*/ 0 h 6972300"/>
              <a:gd name="connsiteX2" fmla="*/ 3429967 w 4772991"/>
              <a:gd name="connsiteY2" fmla="*/ 6957060 h 6972300"/>
              <a:gd name="connsiteX3" fmla="*/ 3508072 w 4772991"/>
              <a:gd name="connsiteY3" fmla="*/ 6967537 h 6972300"/>
              <a:gd name="connsiteX4" fmla="*/ 870916 w 4772991"/>
              <a:gd name="connsiteY4" fmla="*/ 0 h 6972300"/>
              <a:gd name="connsiteX5" fmla="*/ 2109166 w 4772991"/>
              <a:gd name="connsiteY5" fmla="*/ 0 h 6972300"/>
              <a:gd name="connsiteX6" fmla="*/ 4772991 w 4772991"/>
              <a:gd name="connsiteY6" fmla="*/ 6350 h 6972300"/>
              <a:gd name="connsiteX7" fmla="*/ 4772991 w 4772991"/>
              <a:gd name="connsiteY7" fmla="*/ 6972300 h 6972300"/>
              <a:gd name="connsiteX8" fmla="*/ 3512517 w 4772991"/>
              <a:gd name="connsiteY8" fmla="*/ 6959600 h 6972300"/>
              <a:gd name="connsiteX9" fmla="*/ 3400757 w 4772991"/>
              <a:gd name="connsiteY9" fmla="*/ 6951980 h 6972300"/>
              <a:gd name="connsiteX10" fmla="*/ 2198067 w 4772991"/>
              <a:gd name="connsiteY10" fmla="*/ 6959600 h 6972300"/>
              <a:gd name="connsiteX11" fmla="*/ 2096467 w 4772991"/>
              <a:gd name="connsiteY11" fmla="*/ 6965950 h 6972300"/>
              <a:gd name="connsiteX12" fmla="*/ 154847 w 4772991"/>
              <a:gd name="connsiteY12" fmla="*/ 6972300 h 6972300"/>
              <a:gd name="connsiteX13" fmla="*/ 121617 w 4772991"/>
              <a:gd name="connsiteY13" fmla="*/ 1974850 h 6972300"/>
              <a:gd name="connsiteX14" fmla="*/ 140667 w 4772991"/>
              <a:gd name="connsiteY14" fmla="*/ 1841500 h 6972300"/>
              <a:gd name="connsiteX15" fmla="*/ 147016 w 4772991"/>
              <a:gd name="connsiteY15" fmla="*/ 1625600 h 6972300"/>
              <a:gd name="connsiteX16" fmla="*/ 154847 w 4772991"/>
              <a:gd name="connsiteY16"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123157 w 4774531"/>
              <a:gd name="connsiteY14" fmla="*/ 1974850 h 6972300"/>
              <a:gd name="connsiteX15" fmla="*/ 142207 w 4774531"/>
              <a:gd name="connsiteY15" fmla="*/ 1841500 h 6972300"/>
              <a:gd name="connsiteX16" fmla="*/ 148556 w 4774531"/>
              <a:gd name="connsiteY16" fmla="*/ 1625600 h 6972300"/>
              <a:gd name="connsiteX17" fmla="*/ 156387 w 4774531"/>
              <a:gd name="connsiteY17"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123157 w 4774531"/>
              <a:gd name="connsiteY14" fmla="*/ 1974850 h 6972300"/>
              <a:gd name="connsiteX15" fmla="*/ 525589 w 4774531"/>
              <a:gd name="connsiteY15" fmla="*/ 1889125 h 6972300"/>
              <a:gd name="connsiteX16" fmla="*/ 148556 w 4774531"/>
              <a:gd name="connsiteY16" fmla="*/ 1625600 h 6972300"/>
              <a:gd name="connsiteX17" fmla="*/ 156387 w 4774531"/>
              <a:gd name="connsiteY17"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430338 w 4774531"/>
              <a:gd name="connsiteY14" fmla="*/ 2432050 h 6972300"/>
              <a:gd name="connsiteX15" fmla="*/ 525589 w 4774531"/>
              <a:gd name="connsiteY15" fmla="*/ 1889125 h 6972300"/>
              <a:gd name="connsiteX16" fmla="*/ 148556 w 4774531"/>
              <a:gd name="connsiteY16" fmla="*/ 1625600 h 6972300"/>
              <a:gd name="connsiteX17" fmla="*/ 156387 w 4774531"/>
              <a:gd name="connsiteY17" fmla="*/ 6350 h 6972300"/>
              <a:gd name="connsiteX0" fmla="*/ 146526 w 4764670"/>
              <a:gd name="connsiteY0" fmla="*/ 6350 h 6972300"/>
              <a:gd name="connsiteX1" fmla="*/ 767345 w 4764670"/>
              <a:gd name="connsiteY1" fmla="*/ 0 h 6972300"/>
              <a:gd name="connsiteX2" fmla="*/ 3421646 w 4764670"/>
              <a:gd name="connsiteY2" fmla="*/ 6957060 h 6972300"/>
              <a:gd name="connsiteX3" fmla="*/ 3499751 w 4764670"/>
              <a:gd name="connsiteY3" fmla="*/ 6967537 h 6972300"/>
              <a:gd name="connsiteX4" fmla="*/ 862595 w 4764670"/>
              <a:gd name="connsiteY4" fmla="*/ 0 h 6972300"/>
              <a:gd name="connsiteX5" fmla="*/ 2100845 w 4764670"/>
              <a:gd name="connsiteY5" fmla="*/ 0 h 6972300"/>
              <a:gd name="connsiteX6" fmla="*/ 4764670 w 4764670"/>
              <a:gd name="connsiteY6" fmla="*/ 6350 h 6972300"/>
              <a:gd name="connsiteX7" fmla="*/ 4764670 w 4764670"/>
              <a:gd name="connsiteY7" fmla="*/ 6972300 h 6972300"/>
              <a:gd name="connsiteX8" fmla="*/ 3504196 w 4764670"/>
              <a:gd name="connsiteY8" fmla="*/ 6959600 h 6972300"/>
              <a:gd name="connsiteX9" fmla="*/ 3392436 w 4764670"/>
              <a:gd name="connsiteY9" fmla="*/ 6951980 h 6972300"/>
              <a:gd name="connsiteX10" fmla="*/ 2189746 w 4764670"/>
              <a:gd name="connsiteY10" fmla="*/ 6959600 h 6972300"/>
              <a:gd name="connsiteX11" fmla="*/ 2088146 w 4764670"/>
              <a:gd name="connsiteY11" fmla="*/ 6965950 h 6972300"/>
              <a:gd name="connsiteX12" fmla="*/ 146526 w 4764670"/>
              <a:gd name="connsiteY12" fmla="*/ 6972300 h 6972300"/>
              <a:gd name="connsiteX13" fmla="*/ 142665 w 4764670"/>
              <a:gd name="connsiteY13" fmla="*/ 2000250 h 6972300"/>
              <a:gd name="connsiteX14" fmla="*/ 420477 w 4764670"/>
              <a:gd name="connsiteY14" fmla="*/ 2432050 h 6972300"/>
              <a:gd name="connsiteX15" fmla="*/ 515728 w 4764670"/>
              <a:gd name="connsiteY15" fmla="*/ 1889125 h 6972300"/>
              <a:gd name="connsiteX16" fmla="*/ 138695 w 4764670"/>
              <a:gd name="connsiteY16" fmla="*/ 1625600 h 6972300"/>
              <a:gd name="connsiteX17" fmla="*/ 146526 w 4764670"/>
              <a:gd name="connsiteY17" fmla="*/ 6350 h 6972300"/>
              <a:gd name="connsiteX0" fmla="*/ 146526 w 4764670"/>
              <a:gd name="connsiteY0" fmla="*/ 6350 h 6972300"/>
              <a:gd name="connsiteX1" fmla="*/ 767345 w 4764670"/>
              <a:gd name="connsiteY1" fmla="*/ 0 h 6972300"/>
              <a:gd name="connsiteX2" fmla="*/ 3421646 w 4764670"/>
              <a:gd name="connsiteY2" fmla="*/ 6957060 h 6972300"/>
              <a:gd name="connsiteX3" fmla="*/ 3499751 w 4764670"/>
              <a:gd name="connsiteY3" fmla="*/ 6967537 h 6972300"/>
              <a:gd name="connsiteX4" fmla="*/ 862595 w 4764670"/>
              <a:gd name="connsiteY4" fmla="*/ 0 h 6972300"/>
              <a:gd name="connsiteX5" fmla="*/ 2100845 w 4764670"/>
              <a:gd name="connsiteY5" fmla="*/ 0 h 6972300"/>
              <a:gd name="connsiteX6" fmla="*/ 4764670 w 4764670"/>
              <a:gd name="connsiteY6" fmla="*/ 6350 h 6972300"/>
              <a:gd name="connsiteX7" fmla="*/ 4764670 w 4764670"/>
              <a:gd name="connsiteY7" fmla="*/ 6972300 h 6972300"/>
              <a:gd name="connsiteX8" fmla="*/ 3504196 w 4764670"/>
              <a:gd name="connsiteY8" fmla="*/ 6959600 h 6972300"/>
              <a:gd name="connsiteX9" fmla="*/ 3392436 w 4764670"/>
              <a:gd name="connsiteY9" fmla="*/ 6951980 h 6972300"/>
              <a:gd name="connsiteX10" fmla="*/ 2189746 w 4764670"/>
              <a:gd name="connsiteY10" fmla="*/ 6959600 h 6972300"/>
              <a:gd name="connsiteX11" fmla="*/ 2088146 w 4764670"/>
              <a:gd name="connsiteY11" fmla="*/ 6965950 h 6972300"/>
              <a:gd name="connsiteX12" fmla="*/ 146526 w 4764670"/>
              <a:gd name="connsiteY12" fmla="*/ 6972300 h 6972300"/>
              <a:gd name="connsiteX13" fmla="*/ 142665 w 4764670"/>
              <a:gd name="connsiteY13" fmla="*/ 2000250 h 6972300"/>
              <a:gd name="connsiteX14" fmla="*/ 420477 w 4764670"/>
              <a:gd name="connsiteY14" fmla="*/ 2432050 h 6972300"/>
              <a:gd name="connsiteX15" fmla="*/ 515728 w 4764670"/>
              <a:gd name="connsiteY15" fmla="*/ 1889125 h 6972300"/>
              <a:gd name="connsiteX16" fmla="*/ 138695 w 4764670"/>
              <a:gd name="connsiteY16" fmla="*/ 1625600 h 6972300"/>
              <a:gd name="connsiteX17" fmla="*/ 146526 w 476467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411767 w 4755960"/>
              <a:gd name="connsiteY14" fmla="*/ 2432050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1545242 w 4755960"/>
              <a:gd name="connsiteY14" fmla="*/ 5541962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2078642 w 4755960"/>
              <a:gd name="connsiteY14" fmla="*/ 6970712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29985 w 4755960"/>
              <a:gd name="connsiteY16" fmla="*/ 1625600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44272 w 4755960"/>
              <a:gd name="connsiteY16" fmla="*/ 1616076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44272 w 4755960"/>
              <a:gd name="connsiteY16" fmla="*/ 1616076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29985 w 4755960"/>
              <a:gd name="connsiteY16" fmla="*/ 1630363 h 6977874"/>
              <a:gd name="connsiteX17" fmla="*/ 137816 w 4755960"/>
              <a:gd name="connsiteY17" fmla="*/ 6350 h 6977874"/>
              <a:gd name="connsiteX0" fmla="*/ 142330 w 4760474"/>
              <a:gd name="connsiteY0" fmla="*/ 6350 h 6977874"/>
              <a:gd name="connsiteX1" fmla="*/ 763149 w 4760474"/>
              <a:gd name="connsiteY1" fmla="*/ 0 h 6977874"/>
              <a:gd name="connsiteX2" fmla="*/ 3417450 w 4760474"/>
              <a:gd name="connsiteY2" fmla="*/ 6957060 h 6977874"/>
              <a:gd name="connsiteX3" fmla="*/ 3495555 w 4760474"/>
              <a:gd name="connsiteY3" fmla="*/ 6967537 h 6977874"/>
              <a:gd name="connsiteX4" fmla="*/ 858399 w 4760474"/>
              <a:gd name="connsiteY4" fmla="*/ 0 h 6977874"/>
              <a:gd name="connsiteX5" fmla="*/ 2096649 w 4760474"/>
              <a:gd name="connsiteY5" fmla="*/ 0 h 6977874"/>
              <a:gd name="connsiteX6" fmla="*/ 4760474 w 4760474"/>
              <a:gd name="connsiteY6" fmla="*/ 6350 h 6977874"/>
              <a:gd name="connsiteX7" fmla="*/ 4760474 w 4760474"/>
              <a:gd name="connsiteY7" fmla="*/ 6972300 h 6977874"/>
              <a:gd name="connsiteX8" fmla="*/ 3500000 w 4760474"/>
              <a:gd name="connsiteY8" fmla="*/ 6959600 h 6977874"/>
              <a:gd name="connsiteX9" fmla="*/ 3388240 w 4760474"/>
              <a:gd name="connsiteY9" fmla="*/ 6951980 h 6977874"/>
              <a:gd name="connsiteX10" fmla="*/ 2185550 w 4760474"/>
              <a:gd name="connsiteY10" fmla="*/ 6959600 h 6977874"/>
              <a:gd name="connsiteX11" fmla="*/ 2083950 w 4760474"/>
              <a:gd name="connsiteY11" fmla="*/ 6965950 h 6977874"/>
              <a:gd name="connsiteX12" fmla="*/ 142330 w 4760474"/>
              <a:gd name="connsiteY12" fmla="*/ 6972300 h 6977874"/>
              <a:gd name="connsiteX13" fmla="*/ 155138 w 4760474"/>
              <a:gd name="connsiteY13" fmla="*/ 1883569 h 6977874"/>
              <a:gd name="connsiteX14" fmla="*/ 2083156 w 4760474"/>
              <a:gd name="connsiteY14" fmla="*/ 6970712 h 6977874"/>
              <a:gd name="connsiteX15" fmla="*/ 2183170 w 4760474"/>
              <a:gd name="connsiteY15" fmla="*/ 6956425 h 6977874"/>
              <a:gd name="connsiteX16" fmla="*/ 134499 w 4760474"/>
              <a:gd name="connsiteY16" fmla="*/ 1630363 h 6977874"/>
              <a:gd name="connsiteX17" fmla="*/ 142330 w 4760474"/>
              <a:gd name="connsiteY17" fmla="*/ 6350 h 6977874"/>
              <a:gd name="connsiteX0" fmla="*/ 144363 w 4762507"/>
              <a:gd name="connsiteY0" fmla="*/ 6350 h 6977874"/>
              <a:gd name="connsiteX1" fmla="*/ 765182 w 4762507"/>
              <a:gd name="connsiteY1" fmla="*/ 0 h 6977874"/>
              <a:gd name="connsiteX2" fmla="*/ 3419483 w 4762507"/>
              <a:gd name="connsiteY2" fmla="*/ 6957060 h 6977874"/>
              <a:gd name="connsiteX3" fmla="*/ 3497588 w 4762507"/>
              <a:gd name="connsiteY3" fmla="*/ 6967537 h 6977874"/>
              <a:gd name="connsiteX4" fmla="*/ 860432 w 4762507"/>
              <a:gd name="connsiteY4" fmla="*/ 0 h 6977874"/>
              <a:gd name="connsiteX5" fmla="*/ 2098682 w 4762507"/>
              <a:gd name="connsiteY5" fmla="*/ 0 h 6977874"/>
              <a:gd name="connsiteX6" fmla="*/ 4762507 w 4762507"/>
              <a:gd name="connsiteY6" fmla="*/ 6350 h 6977874"/>
              <a:gd name="connsiteX7" fmla="*/ 4762507 w 4762507"/>
              <a:gd name="connsiteY7" fmla="*/ 6972300 h 6977874"/>
              <a:gd name="connsiteX8" fmla="*/ 3502033 w 4762507"/>
              <a:gd name="connsiteY8" fmla="*/ 6959600 h 6977874"/>
              <a:gd name="connsiteX9" fmla="*/ 3390273 w 4762507"/>
              <a:gd name="connsiteY9" fmla="*/ 6951980 h 6977874"/>
              <a:gd name="connsiteX10" fmla="*/ 2187583 w 4762507"/>
              <a:gd name="connsiteY10" fmla="*/ 6959600 h 6977874"/>
              <a:gd name="connsiteX11" fmla="*/ 2085983 w 4762507"/>
              <a:gd name="connsiteY11" fmla="*/ 6965950 h 6977874"/>
              <a:gd name="connsiteX12" fmla="*/ 144363 w 4762507"/>
              <a:gd name="connsiteY12" fmla="*/ 6972300 h 6977874"/>
              <a:gd name="connsiteX13" fmla="*/ 157171 w 4762507"/>
              <a:gd name="connsiteY13" fmla="*/ 1883569 h 6977874"/>
              <a:gd name="connsiteX14" fmla="*/ 2085189 w 4762507"/>
              <a:gd name="connsiteY14" fmla="*/ 6970712 h 6977874"/>
              <a:gd name="connsiteX15" fmla="*/ 2185203 w 4762507"/>
              <a:gd name="connsiteY15" fmla="*/ 6956425 h 6977874"/>
              <a:gd name="connsiteX16" fmla="*/ 136532 w 4762507"/>
              <a:gd name="connsiteY16" fmla="*/ 1630363 h 6977874"/>
              <a:gd name="connsiteX17" fmla="*/ 144363 w 4762507"/>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8220 w 4626364"/>
              <a:gd name="connsiteY12" fmla="*/ 6972300 h 6977874"/>
              <a:gd name="connsiteX13" fmla="*/ 21028 w 4626364"/>
              <a:gd name="connsiteY13" fmla="*/ 188356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46320 w 4626364"/>
              <a:gd name="connsiteY12" fmla="*/ 6965950 h 6977874"/>
              <a:gd name="connsiteX13" fmla="*/ 21028 w 4626364"/>
              <a:gd name="connsiteY13" fmla="*/ 188356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46320 w 4626364"/>
              <a:gd name="connsiteY12" fmla="*/ 6965950 h 6977874"/>
              <a:gd name="connsiteX13" fmla="*/ 40078 w 4626364"/>
              <a:gd name="connsiteY13" fmla="*/ 194071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350 h 6977874"/>
              <a:gd name="connsiteX7" fmla="*/ 4618340 w 4618340"/>
              <a:gd name="connsiteY7" fmla="*/ 6972300 h 6977874"/>
              <a:gd name="connsiteX8" fmla="*/ 3357866 w 4618340"/>
              <a:gd name="connsiteY8" fmla="*/ 6959600 h 6977874"/>
              <a:gd name="connsiteX9" fmla="*/ 3246106 w 4618340"/>
              <a:gd name="connsiteY9" fmla="*/ 6951980 h 6977874"/>
              <a:gd name="connsiteX10" fmla="*/ 2043416 w 4618340"/>
              <a:gd name="connsiteY10" fmla="*/ 6959600 h 6977874"/>
              <a:gd name="connsiteX11" fmla="*/ 1941816 w 4618340"/>
              <a:gd name="connsiteY11" fmla="*/ 6965950 h 6977874"/>
              <a:gd name="connsiteX12" fmla="*/ 38296 w 4618340"/>
              <a:gd name="connsiteY12" fmla="*/ 6965950 h 6977874"/>
              <a:gd name="connsiteX13" fmla="*/ 32054 w 4618340"/>
              <a:gd name="connsiteY13" fmla="*/ 1940719 h 6977874"/>
              <a:gd name="connsiteX14" fmla="*/ 1941022 w 4618340"/>
              <a:gd name="connsiteY14" fmla="*/ 6970712 h 6977874"/>
              <a:gd name="connsiteX15" fmla="*/ 2041036 w 4618340"/>
              <a:gd name="connsiteY15" fmla="*/ 6956425 h 6977874"/>
              <a:gd name="connsiteX16" fmla="*/ 24115 w 4618340"/>
              <a:gd name="connsiteY16" fmla="*/ 1712913 h 6977874"/>
              <a:gd name="connsiteX17" fmla="*/ 196 w 4618340"/>
              <a:gd name="connsiteY17"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4102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6007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7912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17422 h 6977874"/>
              <a:gd name="connsiteX13" fmla="*/ 197912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17422 h 6977874"/>
              <a:gd name="connsiteX13" fmla="*/ 1984947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82584"/>
              <a:gd name="connsiteX1" fmla="*/ 621015 w 4618340"/>
              <a:gd name="connsiteY1" fmla="*/ 0 h 6982584"/>
              <a:gd name="connsiteX2" fmla="*/ 3275316 w 4618340"/>
              <a:gd name="connsiteY2" fmla="*/ 6957060 h 6982584"/>
              <a:gd name="connsiteX3" fmla="*/ 3353421 w 4618340"/>
              <a:gd name="connsiteY3" fmla="*/ 6967537 h 6982584"/>
              <a:gd name="connsiteX4" fmla="*/ 716265 w 4618340"/>
              <a:gd name="connsiteY4" fmla="*/ 0 h 6982584"/>
              <a:gd name="connsiteX5" fmla="*/ 1954515 w 4618340"/>
              <a:gd name="connsiteY5" fmla="*/ 0 h 6982584"/>
              <a:gd name="connsiteX6" fmla="*/ 4618340 w 4618340"/>
              <a:gd name="connsiteY6" fmla="*/ 6972300 h 6982584"/>
              <a:gd name="connsiteX7" fmla="*/ 3357866 w 4618340"/>
              <a:gd name="connsiteY7" fmla="*/ 6959600 h 6982584"/>
              <a:gd name="connsiteX8" fmla="*/ 3246106 w 4618340"/>
              <a:gd name="connsiteY8" fmla="*/ 6951980 h 6982584"/>
              <a:gd name="connsiteX9" fmla="*/ 2043416 w 4618340"/>
              <a:gd name="connsiteY9" fmla="*/ 6959600 h 6982584"/>
              <a:gd name="connsiteX10" fmla="*/ 1941816 w 4618340"/>
              <a:gd name="connsiteY10" fmla="*/ 6965950 h 6982584"/>
              <a:gd name="connsiteX11" fmla="*/ 38296 w 4618340"/>
              <a:gd name="connsiteY11" fmla="*/ 6965950 h 6982584"/>
              <a:gd name="connsiteX12" fmla="*/ 32054 w 4618340"/>
              <a:gd name="connsiteY12" fmla="*/ 1917422 h 6982584"/>
              <a:gd name="connsiteX13" fmla="*/ 2002419 w 4618340"/>
              <a:gd name="connsiteY13" fmla="*/ 6982360 h 6982584"/>
              <a:gd name="connsiteX14" fmla="*/ 2041036 w 4618340"/>
              <a:gd name="connsiteY14" fmla="*/ 6956425 h 6982584"/>
              <a:gd name="connsiteX15" fmla="*/ 24115 w 4618340"/>
              <a:gd name="connsiteY15" fmla="*/ 1712913 h 6982584"/>
              <a:gd name="connsiteX16" fmla="*/ 196 w 4618340"/>
              <a:gd name="connsiteY16" fmla="*/ 6350 h 6982584"/>
              <a:gd name="connsiteX0" fmla="*/ 196 w 4618340"/>
              <a:gd name="connsiteY0" fmla="*/ 6350 h 6982585"/>
              <a:gd name="connsiteX1" fmla="*/ 621015 w 4618340"/>
              <a:gd name="connsiteY1" fmla="*/ 0 h 6982585"/>
              <a:gd name="connsiteX2" fmla="*/ 3275316 w 4618340"/>
              <a:gd name="connsiteY2" fmla="*/ 6957060 h 6982585"/>
              <a:gd name="connsiteX3" fmla="*/ 3353421 w 4618340"/>
              <a:gd name="connsiteY3" fmla="*/ 6967537 h 6982585"/>
              <a:gd name="connsiteX4" fmla="*/ 716265 w 4618340"/>
              <a:gd name="connsiteY4" fmla="*/ 0 h 6982585"/>
              <a:gd name="connsiteX5" fmla="*/ 1954515 w 4618340"/>
              <a:gd name="connsiteY5" fmla="*/ 0 h 6982585"/>
              <a:gd name="connsiteX6" fmla="*/ 4618340 w 4618340"/>
              <a:gd name="connsiteY6" fmla="*/ 6972300 h 6982585"/>
              <a:gd name="connsiteX7" fmla="*/ 3357866 w 4618340"/>
              <a:gd name="connsiteY7" fmla="*/ 6959600 h 6982585"/>
              <a:gd name="connsiteX8" fmla="*/ 3246106 w 4618340"/>
              <a:gd name="connsiteY8" fmla="*/ 6951980 h 6982585"/>
              <a:gd name="connsiteX9" fmla="*/ 2043416 w 4618340"/>
              <a:gd name="connsiteY9" fmla="*/ 6959600 h 6982585"/>
              <a:gd name="connsiteX10" fmla="*/ 1941816 w 4618340"/>
              <a:gd name="connsiteY10" fmla="*/ 6965950 h 6982585"/>
              <a:gd name="connsiteX11" fmla="*/ 38296 w 4618340"/>
              <a:gd name="connsiteY11" fmla="*/ 6965950 h 6982585"/>
              <a:gd name="connsiteX12" fmla="*/ 32054 w 4618340"/>
              <a:gd name="connsiteY12" fmla="*/ 1946543 h 6982585"/>
              <a:gd name="connsiteX13" fmla="*/ 2002419 w 4618340"/>
              <a:gd name="connsiteY13" fmla="*/ 6982360 h 6982585"/>
              <a:gd name="connsiteX14" fmla="*/ 2041036 w 4618340"/>
              <a:gd name="connsiteY14" fmla="*/ 6956425 h 6982585"/>
              <a:gd name="connsiteX15" fmla="*/ 24115 w 4618340"/>
              <a:gd name="connsiteY15" fmla="*/ 1712913 h 6982585"/>
              <a:gd name="connsiteX16" fmla="*/ 196 w 4618340"/>
              <a:gd name="connsiteY16" fmla="*/ 6350 h 6982585"/>
              <a:gd name="connsiteX0" fmla="*/ 196 w 4618340"/>
              <a:gd name="connsiteY0" fmla="*/ 6350 h 6982585"/>
              <a:gd name="connsiteX1" fmla="*/ 621015 w 4618340"/>
              <a:gd name="connsiteY1" fmla="*/ 0 h 6982585"/>
              <a:gd name="connsiteX2" fmla="*/ 3275316 w 4618340"/>
              <a:gd name="connsiteY2" fmla="*/ 6957060 h 6982585"/>
              <a:gd name="connsiteX3" fmla="*/ 3353421 w 4618340"/>
              <a:gd name="connsiteY3" fmla="*/ 6967537 h 6982585"/>
              <a:gd name="connsiteX4" fmla="*/ 716265 w 4618340"/>
              <a:gd name="connsiteY4" fmla="*/ 0 h 6982585"/>
              <a:gd name="connsiteX5" fmla="*/ 1954515 w 4618340"/>
              <a:gd name="connsiteY5" fmla="*/ 0 h 6982585"/>
              <a:gd name="connsiteX6" fmla="*/ 4618340 w 4618340"/>
              <a:gd name="connsiteY6" fmla="*/ 6972300 h 6982585"/>
              <a:gd name="connsiteX7" fmla="*/ 3357866 w 4618340"/>
              <a:gd name="connsiteY7" fmla="*/ 6959600 h 6982585"/>
              <a:gd name="connsiteX8" fmla="*/ 3246106 w 4618340"/>
              <a:gd name="connsiteY8" fmla="*/ 6951980 h 6982585"/>
              <a:gd name="connsiteX9" fmla="*/ 2043416 w 4618340"/>
              <a:gd name="connsiteY9" fmla="*/ 6959600 h 6982585"/>
              <a:gd name="connsiteX10" fmla="*/ 1941816 w 4618340"/>
              <a:gd name="connsiteY10" fmla="*/ 6965950 h 6982585"/>
              <a:gd name="connsiteX11" fmla="*/ 38296 w 4618340"/>
              <a:gd name="connsiteY11" fmla="*/ 6965950 h 6982585"/>
              <a:gd name="connsiteX12" fmla="*/ 32054 w 4618340"/>
              <a:gd name="connsiteY12" fmla="*/ 1946543 h 6982585"/>
              <a:gd name="connsiteX13" fmla="*/ 1990770 w 4618340"/>
              <a:gd name="connsiteY13" fmla="*/ 6982360 h 6982585"/>
              <a:gd name="connsiteX14" fmla="*/ 2041036 w 4618340"/>
              <a:gd name="connsiteY14" fmla="*/ 6956425 h 6982585"/>
              <a:gd name="connsiteX15" fmla="*/ 24115 w 4618340"/>
              <a:gd name="connsiteY15" fmla="*/ 1712913 h 6982585"/>
              <a:gd name="connsiteX16" fmla="*/ 196 w 4618340"/>
              <a:gd name="connsiteY16" fmla="*/ 6350 h 6982585"/>
              <a:gd name="connsiteX0" fmla="*/ 196 w 4618340"/>
              <a:gd name="connsiteY0" fmla="*/ 6350 h 6982585"/>
              <a:gd name="connsiteX1" fmla="*/ 632921 w 4618340"/>
              <a:gd name="connsiteY1" fmla="*/ 0 h 6982585"/>
              <a:gd name="connsiteX2" fmla="*/ 3275316 w 4618340"/>
              <a:gd name="connsiteY2" fmla="*/ 6957060 h 6982585"/>
              <a:gd name="connsiteX3" fmla="*/ 3353421 w 4618340"/>
              <a:gd name="connsiteY3" fmla="*/ 6967537 h 6982585"/>
              <a:gd name="connsiteX4" fmla="*/ 716265 w 4618340"/>
              <a:gd name="connsiteY4" fmla="*/ 0 h 6982585"/>
              <a:gd name="connsiteX5" fmla="*/ 1954515 w 4618340"/>
              <a:gd name="connsiteY5" fmla="*/ 0 h 6982585"/>
              <a:gd name="connsiteX6" fmla="*/ 4618340 w 4618340"/>
              <a:gd name="connsiteY6" fmla="*/ 6972300 h 6982585"/>
              <a:gd name="connsiteX7" fmla="*/ 3357866 w 4618340"/>
              <a:gd name="connsiteY7" fmla="*/ 6959600 h 6982585"/>
              <a:gd name="connsiteX8" fmla="*/ 3246106 w 4618340"/>
              <a:gd name="connsiteY8" fmla="*/ 6951980 h 6982585"/>
              <a:gd name="connsiteX9" fmla="*/ 2043416 w 4618340"/>
              <a:gd name="connsiteY9" fmla="*/ 6959600 h 6982585"/>
              <a:gd name="connsiteX10" fmla="*/ 1941816 w 4618340"/>
              <a:gd name="connsiteY10" fmla="*/ 6965950 h 6982585"/>
              <a:gd name="connsiteX11" fmla="*/ 38296 w 4618340"/>
              <a:gd name="connsiteY11" fmla="*/ 6965950 h 6982585"/>
              <a:gd name="connsiteX12" fmla="*/ 32054 w 4618340"/>
              <a:gd name="connsiteY12" fmla="*/ 1946543 h 6982585"/>
              <a:gd name="connsiteX13" fmla="*/ 1990770 w 4618340"/>
              <a:gd name="connsiteY13" fmla="*/ 6982360 h 6982585"/>
              <a:gd name="connsiteX14" fmla="*/ 2041036 w 4618340"/>
              <a:gd name="connsiteY14" fmla="*/ 6956425 h 6982585"/>
              <a:gd name="connsiteX15" fmla="*/ 24115 w 4618340"/>
              <a:gd name="connsiteY15" fmla="*/ 1712913 h 6982585"/>
              <a:gd name="connsiteX16" fmla="*/ 196 w 4618340"/>
              <a:gd name="connsiteY16" fmla="*/ 6350 h 6982585"/>
              <a:gd name="connsiteX0" fmla="*/ 214 w 4618358"/>
              <a:gd name="connsiteY0" fmla="*/ 6350 h 6982585"/>
              <a:gd name="connsiteX1" fmla="*/ 632939 w 4618358"/>
              <a:gd name="connsiteY1" fmla="*/ 0 h 6982585"/>
              <a:gd name="connsiteX2" fmla="*/ 3275334 w 4618358"/>
              <a:gd name="connsiteY2" fmla="*/ 6957060 h 6982585"/>
              <a:gd name="connsiteX3" fmla="*/ 3353439 w 4618358"/>
              <a:gd name="connsiteY3" fmla="*/ 6967537 h 6982585"/>
              <a:gd name="connsiteX4" fmla="*/ 716283 w 4618358"/>
              <a:gd name="connsiteY4" fmla="*/ 0 h 6982585"/>
              <a:gd name="connsiteX5" fmla="*/ 1954533 w 4618358"/>
              <a:gd name="connsiteY5" fmla="*/ 0 h 6982585"/>
              <a:gd name="connsiteX6" fmla="*/ 4618358 w 4618358"/>
              <a:gd name="connsiteY6" fmla="*/ 6972300 h 6982585"/>
              <a:gd name="connsiteX7" fmla="*/ 3357884 w 4618358"/>
              <a:gd name="connsiteY7" fmla="*/ 6959600 h 6982585"/>
              <a:gd name="connsiteX8" fmla="*/ 3246124 w 4618358"/>
              <a:gd name="connsiteY8" fmla="*/ 6951980 h 6982585"/>
              <a:gd name="connsiteX9" fmla="*/ 2043434 w 4618358"/>
              <a:gd name="connsiteY9" fmla="*/ 6959600 h 6982585"/>
              <a:gd name="connsiteX10" fmla="*/ 1941834 w 4618358"/>
              <a:gd name="connsiteY10" fmla="*/ 6965950 h 6982585"/>
              <a:gd name="connsiteX11" fmla="*/ 38314 w 4618358"/>
              <a:gd name="connsiteY11" fmla="*/ 6965950 h 6982585"/>
              <a:gd name="connsiteX12" fmla="*/ 32072 w 4618358"/>
              <a:gd name="connsiteY12" fmla="*/ 1946543 h 6982585"/>
              <a:gd name="connsiteX13" fmla="*/ 1990788 w 4618358"/>
              <a:gd name="connsiteY13" fmla="*/ 6982360 h 6982585"/>
              <a:gd name="connsiteX14" fmla="*/ 2041054 w 4618358"/>
              <a:gd name="connsiteY14" fmla="*/ 6956425 h 6982585"/>
              <a:gd name="connsiteX15" fmla="*/ 21752 w 4618358"/>
              <a:gd name="connsiteY15" fmla="*/ 1629569 h 6982585"/>
              <a:gd name="connsiteX16" fmla="*/ 214 w 4618358"/>
              <a:gd name="connsiteY16" fmla="*/ 6350 h 6982585"/>
              <a:gd name="connsiteX0" fmla="*/ 214 w 4618358"/>
              <a:gd name="connsiteY0" fmla="*/ 6350 h 7366254"/>
              <a:gd name="connsiteX1" fmla="*/ 632939 w 4618358"/>
              <a:gd name="connsiteY1" fmla="*/ 0 h 7366254"/>
              <a:gd name="connsiteX2" fmla="*/ 3275334 w 4618358"/>
              <a:gd name="connsiteY2" fmla="*/ 6957060 h 7366254"/>
              <a:gd name="connsiteX3" fmla="*/ 3353439 w 4618358"/>
              <a:gd name="connsiteY3" fmla="*/ 6967537 h 7366254"/>
              <a:gd name="connsiteX4" fmla="*/ 716283 w 4618358"/>
              <a:gd name="connsiteY4" fmla="*/ 0 h 7366254"/>
              <a:gd name="connsiteX5" fmla="*/ 1954533 w 4618358"/>
              <a:gd name="connsiteY5" fmla="*/ 0 h 7366254"/>
              <a:gd name="connsiteX6" fmla="*/ 4618358 w 4618358"/>
              <a:gd name="connsiteY6" fmla="*/ 6972300 h 7366254"/>
              <a:gd name="connsiteX7" fmla="*/ 3357884 w 4618358"/>
              <a:gd name="connsiteY7" fmla="*/ 6959600 h 7366254"/>
              <a:gd name="connsiteX8" fmla="*/ 3246124 w 4618358"/>
              <a:gd name="connsiteY8" fmla="*/ 6951980 h 7366254"/>
              <a:gd name="connsiteX9" fmla="*/ 2043434 w 4618358"/>
              <a:gd name="connsiteY9" fmla="*/ 6959600 h 7366254"/>
              <a:gd name="connsiteX10" fmla="*/ 1941834 w 4618358"/>
              <a:gd name="connsiteY10" fmla="*/ 6965950 h 7366254"/>
              <a:gd name="connsiteX11" fmla="*/ 38314 w 4618358"/>
              <a:gd name="connsiteY11" fmla="*/ 6965950 h 7366254"/>
              <a:gd name="connsiteX12" fmla="*/ 39216 w 4618358"/>
              <a:gd name="connsiteY12" fmla="*/ 1858436 h 7366254"/>
              <a:gd name="connsiteX13" fmla="*/ 1990788 w 4618358"/>
              <a:gd name="connsiteY13" fmla="*/ 6982360 h 7366254"/>
              <a:gd name="connsiteX14" fmla="*/ 2041054 w 4618358"/>
              <a:gd name="connsiteY14" fmla="*/ 6956425 h 7366254"/>
              <a:gd name="connsiteX15" fmla="*/ 21752 w 4618358"/>
              <a:gd name="connsiteY15" fmla="*/ 1629569 h 7366254"/>
              <a:gd name="connsiteX16" fmla="*/ 214 w 4618358"/>
              <a:gd name="connsiteY16" fmla="*/ 6350 h 7366254"/>
              <a:gd name="connsiteX0" fmla="*/ 214 w 4618358"/>
              <a:gd name="connsiteY0" fmla="*/ 6350 h 6987302"/>
              <a:gd name="connsiteX1" fmla="*/ 632939 w 4618358"/>
              <a:gd name="connsiteY1" fmla="*/ 0 h 6987302"/>
              <a:gd name="connsiteX2" fmla="*/ 3275334 w 4618358"/>
              <a:gd name="connsiteY2" fmla="*/ 6957060 h 6987302"/>
              <a:gd name="connsiteX3" fmla="*/ 3353439 w 4618358"/>
              <a:gd name="connsiteY3" fmla="*/ 6967537 h 6987302"/>
              <a:gd name="connsiteX4" fmla="*/ 716283 w 4618358"/>
              <a:gd name="connsiteY4" fmla="*/ 0 h 6987302"/>
              <a:gd name="connsiteX5" fmla="*/ 1954533 w 4618358"/>
              <a:gd name="connsiteY5" fmla="*/ 0 h 6987302"/>
              <a:gd name="connsiteX6" fmla="*/ 4618358 w 4618358"/>
              <a:gd name="connsiteY6" fmla="*/ 6972300 h 6987302"/>
              <a:gd name="connsiteX7" fmla="*/ 3357884 w 4618358"/>
              <a:gd name="connsiteY7" fmla="*/ 6959600 h 6987302"/>
              <a:gd name="connsiteX8" fmla="*/ 3246124 w 4618358"/>
              <a:gd name="connsiteY8" fmla="*/ 6951980 h 6987302"/>
              <a:gd name="connsiteX9" fmla="*/ 2043434 w 4618358"/>
              <a:gd name="connsiteY9" fmla="*/ 6959600 h 6987302"/>
              <a:gd name="connsiteX10" fmla="*/ 1941834 w 4618358"/>
              <a:gd name="connsiteY10" fmla="*/ 6965950 h 6987302"/>
              <a:gd name="connsiteX11" fmla="*/ 38314 w 4618358"/>
              <a:gd name="connsiteY11" fmla="*/ 6965950 h 6987302"/>
              <a:gd name="connsiteX12" fmla="*/ 39216 w 4618358"/>
              <a:gd name="connsiteY12" fmla="*/ 1858436 h 6987302"/>
              <a:gd name="connsiteX13" fmla="*/ 1990788 w 4618358"/>
              <a:gd name="connsiteY13" fmla="*/ 6982360 h 6987302"/>
              <a:gd name="connsiteX14" fmla="*/ 2041054 w 4618358"/>
              <a:gd name="connsiteY14" fmla="*/ 6956425 h 6987302"/>
              <a:gd name="connsiteX15" fmla="*/ 21752 w 4618358"/>
              <a:gd name="connsiteY15" fmla="*/ 1629569 h 6987302"/>
              <a:gd name="connsiteX16" fmla="*/ 214 w 4618358"/>
              <a:gd name="connsiteY16" fmla="*/ 6350 h 6987302"/>
              <a:gd name="connsiteX0" fmla="*/ 214 w 4618358"/>
              <a:gd name="connsiteY0" fmla="*/ 6350 h 6982380"/>
              <a:gd name="connsiteX1" fmla="*/ 632939 w 4618358"/>
              <a:gd name="connsiteY1" fmla="*/ 0 h 6982380"/>
              <a:gd name="connsiteX2" fmla="*/ 3275334 w 4618358"/>
              <a:gd name="connsiteY2" fmla="*/ 6957060 h 6982380"/>
              <a:gd name="connsiteX3" fmla="*/ 3353439 w 4618358"/>
              <a:gd name="connsiteY3" fmla="*/ 6967537 h 6982380"/>
              <a:gd name="connsiteX4" fmla="*/ 716283 w 4618358"/>
              <a:gd name="connsiteY4" fmla="*/ 0 h 6982380"/>
              <a:gd name="connsiteX5" fmla="*/ 1954533 w 4618358"/>
              <a:gd name="connsiteY5" fmla="*/ 0 h 6982380"/>
              <a:gd name="connsiteX6" fmla="*/ 4618358 w 4618358"/>
              <a:gd name="connsiteY6" fmla="*/ 6972300 h 6982380"/>
              <a:gd name="connsiteX7" fmla="*/ 3357884 w 4618358"/>
              <a:gd name="connsiteY7" fmla="*/ 6959600 h 6982380"/>
              <a:gd name="connsiteX8" fmla="*/ 3246124 w 4618358"/>
              <a:gd name="connsiteY8" fmla="*/ 6951980 h 6982380"/>
              <a:gd name="connsiteX9" fmla="*/ 2043434 w 4618358"/>
              <a:gd name="connsiteY9" fmla="*/ 6959600 h 6982380"/>
              <a:gd name="connsiteX10" fmla="*/ 1941834 w 4618358"/>
              <a:gd name="connsiteY10" fmla="*/ 6965950 h 6982380"/>
              <a:gd name="connsiteX11" fmla="*/ 38314 w 4618358"/>
              <a:gd name="connsiteY11" fmla="*/ 6965950 h 6982380"/>
              <a:gd name="connsiteX12" fmla="*/ 39216 w 4618358"/>
              <a:gd name="connsiteY12" fmla="*/ 1858436 h 6982380"/>
              <a:gd name="connsiteX13" fmla="*/ 1990788 w 4618358"/>
              <a:gd name="connsiteY13" fmla="*/ 6982360 h 6982380"/>
              <a:gd name="connsiteX14" fmla="*/ 2041054 w 4618358"/>
              <a:gd name="connsiteY14" fmla="*/ 6956425 h 6982380"/>
              <a:gd name="connsiteX15" fmla="*/ 21752 w 4618358"/>
              <a:gd name="connsiteY15" fmla="*/ 1629569 h 6982380"/>
              <a:gd name="connsiteX16" fmla="*/ 214 w 4618358"/>
              <a:gd name="connsiteY16" fmla="*/ 6350 h 6982380"/>
              <a:gd name="connsiteX0" fmla="*/ 214 w 4618358"/>
              <a:gd name="connsiteY0" fmla="*/ 6350 h 6972855"/>
              <a:gd name="connsiteX1" fmla="*/ 632939 w 4618358"/>
              <a:gd name="connsiteY1" fmla="*/ 0 h 6972855"/>
              <a:gd name="connsiteX2" fmla="*/ 3275334 w 4618358"/>
              <a:gd name="connsiteY2" fmla="*/ 6957060 h 6972855"/>
              <a:gd name="connsiteX3" fmla="*/ 3353439 w 4618358"/>
              <a:gd name="connsiteY3" fmla="*/ 6967537 h 6972855"/>
              <a:gd name="connsiteX4" fmla="*/ 716283 w 4618358"/>
              <a:gd name="connsiteY4" fmla="*/ 0 h 6972855"/>
              <a:gd name="connsiteX5" fmla="*/ 1954533 w 4618358"/>
              <a:gd name="connsiteY5" fmla="*/ 0 h 6972855"/>
              <a:gd name="connsiteX6" fmla="*/ 4618358 w 4618358"/>
              <a:gd name="connsiteY6" fmla="*/ 6972300 h 6972855"/>
              <a:gd name="connsiteX7" fmla="*/ 3357884 w 4618358"/>
              <a:gd name="connsiteY7" fmla="*/ 6959600 h 6972855"/>
              <a:gd name="connsiteX8" fmla="*/ 3246124 w 4618358"/>
              <a:gd name="connsiteY8" fmla="*/ 6951980 h 6972855"/>
              <a:gd name="connsiteX9" fmla="*/ 2043434 w 4618358"/>
              <a:gd name="connsiteY9" fmla="*/ 6959600 h 6972855"/>
              <a:gd name="connsiteX10" fmla="*/ 1941834 w 4618358"/>
              <a:gd name="connsiteY10" fmla="*/ 6965950 h 6972855"/>
              <a:gd name="connsiteX11" fmla="*/ 38314 w 4618358"/>
              <a:gd name="connsiteY11" fmla="*/ 6965950 h 6972855"/>
              <a:gd name="connsiteX12" fmla="*/ 39216 w 4618358"/>
              <a:gd name="connsiteY12" fmla="*/ 1858436 h 6972855"/>
              <a:gd name="connsiteX13" fmla="*/ 1986026 w 4618358"/>
              <a:gd name="connsiteY13" fmla="*/ 6972835 h 6972855"/>
              <a:gd name="connsiteX14" fmla="*/ 2041054 w 4618358"/>
              <a:gd name="connsiteY14" fmla="*/ 6956425 h 6972855"/>
              <a:gd name="connsiteX15" fmla="*/ 21752 w 4618358"/>
              <a:gd name="connsiteY15" fmla="*/ 1629569 h 6972855"/>
              <a:gd name="connsiteX16" fmla="*/ 214 w 4618358"/>
              <a:gd name="connsiteY16" fmla="*/ 6350 h 6972855"/>
              <a:gd name="connsiteX0" fmla="*/ 214 w 4618358"/>
              <a:gd name="connsiteY0" fmla="*/ 6350 h 7346830"/>
              <a:gd name="connsiteX1" fmla="*/ 632939 w 4618358"/>
              <a:gd name="connsiteY1" fmla="*/ 0 h 7346830"/>
              <a:gd name="connsiteX2" fmla="*/ 3275334 w 4618358"/>
              <a:gd name="connsiteY2" fmla="*/ 6957060 h 7346830"/>
              <a:gd name="connsiteX3" fmla="*/ 3353439 w 4618358"/>
              <a:gd name="connsiteY3" fmla="*/ 6967537 h 7346830"/>
              <a:gd name="connsiteX4" fmla="*/ 716283 w 4618358"/>
              <a:gd name="connsiteY4" fmla="*/ 0 h 7346830"/>
              <a:gd name="connsiteX5" fmla="*/ 1954533 w 4618358"/>
              <a:gd name="connsiteY5" fmla="*/ 0 h 7346830"/>
              <a:gd name="connsiteX6" fmla="*/ 4618358 w 4618358"/>
              <a:gd name="connsiteY6" fmla="*/ 6972300 h 7346830"/>
              <a:gd name="connsiteX7" fmla="*/ 3357884 w 4618358"/>
              <a:gd name="connsiteY7" fmla="*/ 6959600 h 7346830"/>
              <a:gd name="connsiteX8" fmla="*/ 3246124 w 4618358"/>
              <a:gd name="connsiteY8" fmla="*/ 6951980 h 7346830"/>
              <a:gd name="connsiteX9" fmla="*/ 2043434 w 4618358"/>
              <a:gd name="connsiteY9" fmla="*/ 6959600 h 7346830"/>
              <a:gd name="connsiteX10" fmla="*/ 1941834 w 4618358"/>
              <a:gd name="connsiteY10" fmla="*/ 6965950 h 7346830"/>
              <a:gd name="connsiteX11" fmla="*/ 38314 w 4618358"/>
              <a:gd name="connsiteY11" fmla="*/ 6965950 h 7346830"/>
              <a:gd name="connsiteX12" fmla="*/ 39216 w 4618358"/>
              <a:gd name="connsiteY12" fmla="*/ 1860817 h 7346830"/>
              <a:gd name="connsiteX13" fmla="*/ 1986026 w 4618358"/>
              <a:gd name="connsiteY13" fmla="*/ 6972835 h 7346830"/>
              <a:gd name="connsiteX14" fmla="*/ 2041054 w 4618358"/>
              <a:gd name="connsiteY14" fmla="*/ 6956425 h 7346830"/>
              <a:gd name="connsiteX15" fmla="*/ 21752 w 4618358"/>
              <a:gd name="connsiteY15" fmla="*/ 1629569 h 7346830"/>
              <a:gd name="connsiteX16" fmla="*/ 214 w 4618358"/>
              <a:gd name="connsiteY16" fmla="*/ 6350 h 7346830"/>
              <a:gd name="connsiteX0" fmla="*/ 214 w 4618358"/>
              <a:gd name="connsiteY0" fmla="*/ 6350 h 6972835"/>
              <a:gd name="connsiteX1" fmla="*/ 632939 w 4618358"/>
              <a:gd name="connsiteY1" fmla="*/ 0 h 6972835"/>
              <a:gd name="connsiteX2" fmla="*/ 3275334 w 4618358"/>
              <a:gd name="connsiteY2" fmla="*/ 6957060 h 6972835"/>
              <a:gd name="connsiteX3" fmla="*/ 3353439 w 4618358"/>
              <a:gd name="connsiteY3" fmla="*/ 6967537 h 6972835"/>
              <a:gd name="connsiteX4" fmla="*/ 716283 w 4618358"/>
              <a:gd name="connsiteY4" fmla="*/ 0 h 6972835"/>
              <a:gd name="connsiteX5" fmla="*/ 1954533 w 4618358"/>
              <a:gd name="connsiteY5" fmla="*/ 0 h 6972835"/>
              <a:gd name="connsiteX6" fmla="*/ 4618358 w 4618358"/>
              <a:gd name="connsiteY6" fmla="*/ 6972300 h 6972835"/>
              <a:gd name="connsiteX7" fmla="*/ 3357884 w 4618358"/>
              <a:gd name="connsiteY7" fmla="*/ 6959600 h 6972835"/>
              <a:gd name="connsiteX8" fmla="*/ 3246124 w 4618358"/>
              <a:gd name="connsiteY8" fmla="*/ 6951980 h 6972835"/>
              <a:gd name="connsiteX9" fmla="*/ 2043434 w 4618358"/>
              <a:gd name="connsiteY9" fmla="*/ 6959600 h 6972835"/>
              <a:gd name="connsiteX10" fmla="*/ 1941834 w 4618358"/>
              <a:gd name="connsiteY10" fmla="*/ 6965950 h 6972835"/>
              <a:gd name="connsiteX11" fmla="*/ 38314 w 4618358"/>
              <a:gd name="connsiteY11" fmla="*/ 6965950 h 6972835"/>
              <a:gd name="connsiteX12" fmla="*/ 39216 w 4618358"/>
              <a:gd name="connsiteY12" fmla="*/ 1860817 h 6972835"/>
              <a:gd name="connsiteX13" fmla="*/ 1986026 w 4618358"/>
              <a:gd name="connsiteY13" fmla="*/ 6972835 h 6972835"/>
              <a:gd name="connsiteX14" fmla="*/ 2041054 w 4618358"/>
              <a:gd name="connsiteY14" fmla="*/ 6956425 h 6972835"/>
              <a:gd name="connsiteX15" fmla="*/ 21752 w 4618358"/>
              <a:gd name="connsiteY15" fmla="*/ 1629569 h 6972835"/>
              <a:gd name="connsiteX16" fmla="*/ 214 w 4618358"/>
              <a:gd name="connsiteY16" fmla="*/ 6350 h 6972835"/>
              <a:gd name="connsiteX0" fmla="*/ 214 w 4618358"/>
              <a:gd name="connsiteY0" fmla="*/ 6350 h 7346830"/>
              <a:gd name="connsiteX1" fmla="*/ 632939 w 4618358"/>
              <a:gd name="connsiteY1" fmla="*/ 0 h 7346830"/>
              <a:gd name="connsiteX2" fmla="*/ 3275334 w 4618358"/>
              <a:gd name="connsiteY2" fmla="*/ 6957060 h 7346830"/>
              <a:gd name="connsiteX3" fmla="*/ 3353439 w 4618358"/>
              <a:gd name="connsiteY3" fmla="*/ 6967537 h 7346830"/>
              <a:gd name="connsiteX4" fmla="*/ 716283 w 4618358"/>
              <a:gd name="connsiteY4" fmla="*/ 0 h 7346830"/>
              <a:gd name="connsiteX5" fmla="*/ 1954533 w 4618358"/>
              <a:gd name="connsiteY5" fmla="*/ 0 h 7346830"/>
              <a:gd name="connsiteX6" fmla="*/ 4618358 w 4618358"/>
              <a:gd name="connsiteY6" fmla="*/ 6972300 h 7346830"/>
              <a:gd name="connsiteX7" fmla="*/ 3357884 w 4618358"/>
              <a:gd name="connsiteY7" fmla="*/ 6959600 h 7346830"/>
              <a:gd name="connsiteX8" fmla="*/ 3246124 w 4618358"/>
              <a:gd name="connsiteY8" fmla="*/ 6951980 h 7346830"/>
              <a:gd name="connsiteX9" fmla="*/ 2043434 w 4618358"/>
              <a:gd name="connsiteY9" fmla="*/ 6959600 h 7346830"/>
              <a:gd name="connsiteX10" fmla="*/ 1941834 w 4618358"/>
              <a:gd name="connsiteY10" fmla="*/ 6965950 h 7346830"/>
              <a:gd name="connsiteX11" fmla="*/ 38314 w 4618358"/>
              <a:gd name="connsiteY11" fmla="*/ 6965950 h 7346830"/>
              <a:gd name="connsiteX12" fmla="*/ 29691 w 4618358"/>
              <a:gd name="connsiteY12" fmla="*/ 1860817 h 7346830"/>
              <a:gd name="connsiteX13" fmla="*/ 1986026 w 4618358"/>
              <a:gd name="connsiteY13" fmla="*/ 6972835 h 7346830"/>
              <a:gd name="connsiteX14" fmla="*/ 2041054 w 4618358"/>
              <a:gd name="connsiteY14" fmla="*/ 6956425 h 7346830"/>
              <a:gd name="connsiteX15" fmla="*/ 21752 w 4618358"/>
              <a:gd name="connsiteY15" fmla="*/ 1629569 h 7346830"/>
              <a:gd name="connsiteX16" fmla="*/ 214 w 4618358"/>
              <a:gd name="connsiteY16" fmla="*/ 6350 h 7346830"/>
              <a:gd name="connsiteX0" fmla="*/ 214 w 4618358"/>
              <a:gd name="connsiteY0" fmla="*/ 6350 h 7344465"/>
              <a:gd name="connsiteX1" fmla="*/ 632939 w 4618358"/>
              <a:gd name="connsiteY1" fmla="*/ 0 h 7344465"/>
              <a:gd name="connsiteX2" fmla="*/ 3275334 w 4618358"/>
              <a:gd name="connsiteY2" fmla="*/ 6957060 h 7344465"/>
              <a:gd name="connsiteX3" fmla="*/ 3353439 w 4618358"/>
              <a:gd name="connsiteY3" fmla="*/ 6967537 h 7344465"/>
              <a:gd name="connsiteX4" fmla="*/ 716283 w 4618358"/>
              <a:gd name="connsiteY4" fmla="*/ 0 h 7344465"/>
              <a:gd name="connsiteX5" fmla="*/ 1954533 w 4618358"/>
              <a:gd name="connsiteY5" fmla="*/ 0 h 7344465"/>
              <a:gd name="connsiteX6" fmla="*/ 4618358 w 4618358"/>
              <a:gd name="connsiteY6" fmla="*/ 6972300 h 7344465"/>
              <a:gd name="connsiteX7" fmla="*/ 3357884 w 4618358"/>
              <a:gd name="connsiteY7" fmla="*/ 6959600 h 7344465"/>
              <a:gd name="connsiteX8" fmla="*/ 3246124 w 4618358"/>
              <a:gd name="connsiteY8" fmla="*/ 6951980 h 7344465"/>
              <a:gd name="connsiteX9" fmla="*/ 2043434 w 4618358"/>
              <a:gd name="connsiteY9" fmla="*/ 6959600 h 7344465"/>
              <a:gd name="connsiteX10" fmla="*/ 1941834 w 4618358"/>
              <a:gd name="connsiteY10" fmla="*/ 6965950 h 7344465"/>
              <a:gd name="connsiteX11" fmla="*/ 38314 w 4618358"/>
              <a:gd name="connsiteY11" fmla="*/ 6965950 h 7344465"/>
              <a:gd name="connsiteX12" fmla="*/ 29691 w 4618358"/>
              <a:gd name="connsiteY12" fmla="*/ 1860817 h 7344465"/>
              <a:gd name="connsiteX13" fmla="*/ 1979676 w 4618358"/>
              <a:gd name="connsiteY13" fmla="*/ 6969660 h 7344465"/>
              <a:gd name="connsiteX14" fmla="*/ 2041054 w 4618358"/>
              <a:gd name="connsiteY14" fmla="*/ 6956425 h 7344465"/>
              <a:gd name="connsiteX15" fmla="*/ 21752 w 4618358"/>
              <a:gd name="connsiteY15" fmla="*/ 1629569 h 7344465"/>
              <a:gd name="connsiteX16" fmla="*/ 214 w 4618358"/>
              <a:gd name="connsiteY16" fmla="*/ 6350 h 7344465"/>
              <a:gd name="connsiteX0" fmla="*/ 214 w 4618358"/>
              <a:gd name="connsiteY0" fmla="*/ 6350 h 6979468"/>
              <a:gd name="connsiteX1" fmla="*/ 632939 w 4618358"/>
              <a:gd name="connsiteY1" fmla="*/ 0 h 6979468"/>
              <a:gd name="connsiteX2" fmla="*/ 3275334 w 4618358"/>
              <a:gd name="connsiteY2" fmla="*/ 6957060 h 6979468"/>
              <a:gd name="connsiteX3" fmla="*/ 3353439 w 4618358"/>
              <a:gd name="connsiteY3" fmla="*/ 6967537 h 6979468"/>
              <a:gd name="connsiteX4" fmla="*/ 716283 w 4618358"/>
              <a:gd name="connsiteY4" fmla="*/ 0 h 6979468"/>
              <a:gd name="connsiteX5" fmla="*/ 1954533 w 4618358"/>
              <a:gd name="connsiteY5" fmla="*/ 0 h 6979468"/>
              <a:gd name="connsiteX6" fmla="*/ 4618358 w 4618358"/>
              <a:gd name="connsiteY6" fmla="*/ 6972300 h 6979468"/>
              <a:gd name="connsiteX7" fmla="*/ 3357884 w 4618358"/>
              <a:gd name="connsiteY7" fmla="*/ 6959600 h 6979468"/>
              <a:gd name="connsiteX8" fmla="*/ 3246124 w 4618358"/>
              <a:gd name="connsiteY8" fmla="*/ 6951980 h 6979468"/>
              <a:gd name="connsiteX9" fmla="*/ 2043434 w 4618358"/>
              <a:gd name="connsiteY9" fmla="*/ 6959600 h 6979468"/>
              <a:gd name="connsiteX10" fmla="*/ 1941834 w 4618358"/>
              <a:gd name="connsiteY10" fmla="*/ 6965950 h 6979468"/>
              <a:gd name="connsiteX11" fmla="*/ 38314 w 4618358"/>
              <a:gd name="connsiteY11" fmla="*/ 6965950 h 6979468"/>
              <a:gd name="connsiteX12" fmla="*/ 29691 w 4618358"/>
              <a:gd name="connsiteY12" fmla="*/ 1860817 h 6979468"/>
              <a:gd name="connsiteX13" fmla="*/ 1979676 w 4618358"/>
              <a:gd name="connsiteY13" fmla="*/ 6969660 h 6979468"/>
              <a:gd name="connsiteX14" fmla="*/ 2041054 w 4618358"/>
              <a:gd name="connsiteY14" fmla="*/ 6956425 h 6979468"/>
              <a:gd name="connsiteX15" fmla="*/ 21752 w 4618358"/>
              <a:gd name="connsiteY15" fmla="*/ 1629569 h 6979468"/>
              <a:gd name="connsiteX16" fmla="*/ 214 w 4618358"/>
              <a:gd name="connsiteY16" fmla="*/ 6350 h 6979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8358" h="6979468">
                <a:moveTo>
                  <a:pt x="214" y="6350"/>
                </a:moveTo>
                <a:lnTo>
                  <a:pt x="632939" y="0"/>
                </a:lnTo>
                <a:lnTo>
                  <a:pt x="3275334" y="6957060"/>
                </a:lnTo>
                <a:lnTo>
                  <a:pt x="3353439" y="6967537"/>
                </a:lnTo>
                <a:lnTo>
                  <a:pt x="716283" y="0"/>
                </a:lnTo>
                <a:lnTo>
                  <a:pt x="1954533" y="0"/>
                </a:lnTo>
                <a:lnTo>
                  <a:pt x="4618358" y="6972300"/>
                </a:lnTo>
                <a:lnTo>
                  <a:pt x="3357884" y="6959600"/>
                </a:lnTo>
                <a:lnTo>
                  <a:pt x="3246124" y="6951980"/>
                </a:lnTo>
                <a:lnTo>
                  <a:pt x="2043434" y="6959600"/>
                </a:lnTo>
                <a:lnTo>
                  <a:pt x="1941834" y="6965950"/>
                </a:lnTo>
                <a:lnTo>
                  <a:pt x="38314" y="6965950"/>
                </a:lnTo>
                <a:cubicBezTo>
                  <a:pt x="44664" y="6792383"/>
                  <a:pt x="25704" y="1869812"/>
                  <a:pt x="29691" y="1860817"/>
                </a:cubicBezTo>
                <a:cubicBezTo>
                  <a:pt x="33678" y="1866109"/>
                  <a:pt x="1961949" y="6942717"/>
                  <a:pt x="1979676" y="6969660"/>
                </a:cubicBezTo>
                <a:cubicBezTo>
                  <a:pt x="1997403" y="6996603"/>
                  <a:pt x="2041583" y="6959864"/>
                  <a:pt x="2041054" y="6956425"/>
                </a:cubicBezTo>
                <a:cubicBezTo>
                  <a:pt x="2045287" y="6898217"/>
                  <a:pt x="14626" y="1635390"/>
                  <a:pt x="21752" y="1629569"/>
                </a:cubicBezTo>
                <a:cubicBezTo>
                  <a:pt x="19600" y="1632744"/>
                  <a:pt x="-2396" y="546100"/>
                  <a:pt x="214" y="6350"/>
                </a:cubicBezTo>
                <a:close/>
              </a:path>
            </a:pathLst>
          </a:custGeom>
          <a:solidFill>
            <a:schemeClr val="bg1">
              <a:lumMod val="65000"/>
            </a:schemeClr>
          </a:solidFill>
        </p:spPr>
        <p:txBody>
          <a:bodyPr lIns="684000" tIns="3096000"/>
          <a:lstStyle>
            <a:lvl1pPr>
              <a:defRPr sz="1200" b="1">
                <a:solidFill>
                  <a:schemeClr val="tx1"/>
                </a:solidFill>
              </a:defRPr>
            </a:lvl1pPr>
          </a:lstStyle>
          <a:p>
            <a:r>
              <a:rPr lang="en-AU" dirty="0"/>
              <a:t>               Picture</a:t>
            </a:r>
            <a:endParaRPr lang="en-US" dirty="0"/>
          </a:p>
        </p:txBody>
      </p:sp>
      <p:sp>
        <p:nvSpPr>
          <p:cNvPr id="2" name="Title 1"/>
          <p:cNvSpPr>
            <a:spLocks noGrp="1"/>
          </p:cNvSpPr>
          <p:nvPr>
            <p:ph type="title"/>
          </p:nvPr>
        </p:nvSpPr>
        <p:spPr>
          <a:xfrm>
            <a:off x="4511674" y="398977"/>
            <a:ext cx="4244975" cy="800867"/>
          </a:xfrm>
        </p:spPr>
        <p:txBody>
          <a:bodyPr/>
          <a:lstStyle/>
          <a:p>
            <a:r>
              <a:rPr lang="en-US" dirty="0"/>
              <a:t>Click to edit Master title style</a:t>
            </a:r>
          </a:p>
        </p:txBody>
      </p:sp>
      <p:sp>
        <p:nvSpPr>
          <p:cNvPr id="10" name="Parallelogram 9"/>
          <p:cNvSpPr/>
          <p:nvPr userDrawn="1"/>
        </p:nvSpPr>
        <p:spPr>
          <a:xfrm>
            <a:off x="4511674" y="1364891"/>
            <a:ext cx="720000" cy="60959"/>
          </a:xfrm>
          <a:prstGeom prst="parallelogram">
            <a:avLst>
              <a:gd name="adj" fmla="val 3799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153250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Full page image with heading whit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144000" cy="6858000"/>
          </a:xfrm>
        </p:spPr>
        <p:txBody>
          <a:bodyPr lIns="0" tIns="3060000"/>
          <a:lstStyle>
            <a:lvl1pPr algn="ctr">
              <a:defRPr sz="1400" b="1"/>
            </a:lvl1pPr>
          </a:lstStyle>
          <a:p>
            <a:endParaRPr lang="en-US"/>
          </a:p>
        </p:txBody>
      </p:sp>
      <p:sp>
        <p:nvSpPr>
          <p:cNvPr id="2" name="Title 1"/>
          <p:cNvSpPr>
            <a:spLocks noGrp="1"/>
          </p:cNvSpPr>
          <p:nvPr>
            <p:ph type="title"/>
          </p:nvPr>
        </p:nvSpPr>
        <p:spPr>
          <a:xfrm>
            <a:off x="4023360" y="4130041"/>
            <a:ext cx="4442460" cy="1790700"/>
          </a:xfrm>
        </p:spPr>
        <p:txBody>
          <a:bodyPr>
            <a:noAutofit/>
          </a:bodyPr>
          <a:lstStyle/>
          <a:p>
            <a:r>
              <a:rPr lang="en-US" dirty="0"/>
              <a:t>Click to edit Master title style</a:t>
            </a:r>
          </a:p>
        </p:txBody>
      </p:sp>
    </p:spTree>
    <p:extLst>
      <p:ext uri="{BB962C8B-B14F-4D97-AF65-F5344CB8AC3E}">
        <p14:creationId xmlns:p14="http://schemas.microsoft.com/office/powerpoint/2010/main" val="3097030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White divider with image">
    <p:bg>
      <p:bgPr>
        <a:solidFill>
          <a:schemeClr val="bg1"/>
        </a:solidFill>
        <a:effectLst/>
      </p:bgPr>
    </p:bg>
    <p:spTree>
      <p:nvGrpSpPr>
        <p:cNvPr id="1" name=""/>
        <p:cNvGrpSpPr/>
        <p:nvPr/>
      </p:nvGrpSpPr>
      <p:grpSpPr>
        <a:xfrm>
          <a:off x="0" y="0"/>
          <a:ext cx="0" cy="0"/>
          <a:chOff x="0" y="0"/>
          <a:chExt cx="0" cy="0"/>
        </a:xfrm>
      </p:grpSpPr>
      <p:sp>
        <p:nvSpPr>
          <p:cNvPr id="5" name="Parallelogram 4"/>
          <p:cNvSpPr/>
          <p:nvPr userDrawn="1"/>
        </p:nvSpPr>
        <p:spPr>
          <a:xfrm>
            <a:off x="4927601" y="1364891"/>
            <a:ext cx="720000" cy="60959"/>
          </a:xfrm>
          <a:prstGeom prst="parallelogram">
            <a:avLst>
              <a:gd name="adj" fmla="val 3799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sp>
        <p:nvSpPr>
          <p:cNvPr id="3" name="Text Placeholder 2"/>
          <p:cNvSpPr>
            <a:spLocks noGrp="1"/>
          </p:cNvSpPr>
          <p:nvPr>
            <p:ph type="body" sz="quarter" idx="11"/>
          </p:nvPr>
        </p:nvSpPr>
        <p:spPr>
          <a:xfrm>
            <a:off x="4927601" y="2600325"/>
            <a:ext cx="3759199" cy="2524126"/>
          </a:xfrm>
        </p:spPr>
        <p:txBody>
          <a:bodyPr/>
          <a:lstStyle>
            <a:lvl1pPr>
              <a:defRPr sz="3600">
                <a:solidFill>
                  <a:schemeClr val="tx1"/>
                </a:solidFill>
                <a:latin typeface="Segoe UI Light" panose="020B0502040204020203" pitchFamily="34" charset="0"/>
              </a:defRPr>
            </a:lvl1pPr>
            <a:lvl2pPr>
              <a:defRPr sz="3600">
                <a:latin typeface="Segoe UI Light" panose="020B0502040204020203" pitchFamily="34" charset="0"/>
              </a:defRPr>
            </a:lvl2pPr>
            <a:lvl3pPr>
              <a:defRPr sz="3600">
                <a:latin typeface="Segoe UI Light" panose="020B0502040204020203" pitchFamily="34" charset="0"/>
              </a:defRPr>
            </a:lvl3pPr>
            <a:lvl4pPr>
              <a:defRPr sz="3600">
                <a:latin typeface="Segoe UI Light" panose="020B0502040204020203" pitchFamily="34" charset="0"/>
              </a:defRPr>
            </a:lvl4pPr>
            <a:lvl5pPr>
              <a:defRPr sz="3600">
                <a:latin typeface="Segoe UI Light" panose="020B0502040204020203" pitchFamily="34" charset="0"/>
              </a:defRPr>
            </a:lvl5pPr>
          </a:lstStyle>
          <a:p>
            <a:pPr lvl="0"/>
            <a:r>
              <a:rPr lang="en-US" dirty="0"/>
              <a:t>Click to edit Master text styles</a:t>
            </a:r>
          </a:p>
        </p:txBody>
      </p:sp>
      <p:sp>
        <p:nvSpPr>
          <p:cNvPr id="6" name="Picture Placeholder 5"/>
          <p:cNvSpPr>
            <a:spLocks noGrp="1"/>
          </p:cNvSpPr>
          <p:nvPr>
            <p:ph type="pic" sz="quarter" idx="12"/>
          </p:nvPr>
        </p:nvSpPr>
        <p:spPr>
          <a:xfrm>
            <a:off x="-73025" y="-57151"/>
            <a:ext cx="5575300" cy="6988317"/>
          </a:xfrm>
          <a:custGeom>
            <a:avLst/>
            <a:gdLst>
              <a:gd name="connsiteX0" fmla="*/ 0 w 3441700"/>
              <a:gd name="connsiteY0" fmla="*/ 0 h 6940692"/>
              <a:gd name="connsiteX1" fmla="*/ 3441700 w 3441700"/>
              <a:gd name="connsiteY1" fmla="*/ 0 h 6940692"/>
              <a:gd name="connsiteX2" fmla="*/ 3441700 w 3441700"/>
              <a:gd name="connsiteY2" fmla="*/ 6940692 h 6940692"/>
              <a:gd name="connsiteX3" fmla="*/ 0 w 3441700"/>
              <a:gd name="connsiteY3" fmla="*/ 6940692 h 6940692"/>
              <a:gd name="connsiteX4" fmla="*/ 0 w 3441700"/>
              <a:gd name="connsiteY4" fmla="*/ 0 h 6940692"/>
              <a:gd name="connsiteX0" fmla="*/ 0 w 3441700"/>
              <a:gd name="connsiteY0" fmla="*/ 6349 h 6947041"/>
              <a:gd name="connsiteX1" fmla="*/ 831850 w 3441700"/>
              <a:gd name="connsiteY1" fmla="*/ 0 h 6947041"/>
              <a:gd name="connsiteX2" fmla="*/ 3441700 w 3441700"/>
              <a:gd name="connsiteY2" fmla="*/ 6349 h 6947041"/>
              <a:gd name="connsiteX3" fmla="*/ 3441700 w 3441700"/>
              <a:gd name="connsiteY3" fmla="*/ 6947041 h 6947041"/>
              <a:gd name="connsiteX4" fmla="*/ 0 w 3441700"/>
              <a:gd name="connsiteY4" fmla="*/ 6947041 h 6947041"/>
              <a:gd name="connsiteX5" fmla="*/ 0 w 3441700"/>
              <a:gd name="connsiteY5" fmla="*/ 6349 h 6947041"/>
              <a:gd name="connsiteX0" fmla="*/ 0 w 3441700"/>
              <a:gd name="connsiteY0" fmla="*/ 6349 h 6947041"/>
              <a:gd name="connsiteX1" fmla="*/ 831850 w 3441700"/>
              <a:gd name="connsiteY1" fmla="*/ 0 h 6947041"/>
              <a:gd name="connsiteX2" fmla="*/ 3441700 w 3441700"/>
              <a:gd name="connsiteY2" fmla="*/ 6947041 h 6947041"/>
              <a:gd name="connsiteX3" fmla="*/ 0 w 3441700"/>
              <a:gd name="connsiteY3" fmla="*/ 6947041 h 6947041"/>
              <a:gd name="connsiteX4" fmla="*/ 0 w 3441700"/>
              <a:gd name="connsiteY4" fmla="*/ 6349 h 6947041"/>
              <a:gd name="connsiteX0" fmla="*/ 0 w 3441700"/>
              <a:gd name="connsiteY0" fmla="*/ 6349 h 6947041"/>
              <a:gd name="connsiteX1" fmla="*/ 806450 w 3441700"/>
              <a:gd name="connsiteY1" fmla="*/ 0 h 6947041"/>
              <a:gd name="connsiteX2" fmla="*/ 3441700 w 3441700"/>
              <a:gd name="connsiteY2" fmla="*/ 6947041 h 6947041"/>
              <a:gd name="connsiteX3" fmla="*/ 0 w 3441700"/>
              <a:gd name="connsiteY3" fmla="*/ 6947041 h 6947041"/>
              <a:gd name="connsiteX4" fmla="*/ 0 w 3441700"/>
              <a:gd name="connsiteY4" fmla="*/ 6349 h 6947041"/>
              <a:gd name="connsiteX0" fmla="*/ 0 w 3441700"/>
              <a:gd name="connsiteY0" fmla="*/ 0 h 6940692"/>
              <a:gd name="connsiteX1" fmla="*/ 819150 w 3441700"/>
              <a:gd name="connsiteY1" fmla="*/ 1 h 6940692"/>
              <a:gd name="connsiteX2" fmla="*/ 3441700 w 3441700"/>
              <a:gd name="connsiteY2" fmla="*/ 6940692 h 6940692"/>
              <a:gd name="connsiteX3" fmla="*/ 0 w 3441700"/>
              <a:gd name="connsiteY3" fmla="*/ 6940692 h 6940692"/>
              <a:gd name="connsiteX4" fmla="*/ 0 w 3441700"/>
              <a:gd name="connsiteY4" fmla="*/ 0 h 6940692"/>
              <a:gd name="connsiteX0" fmla="*/ 0 w 5575300"/>
              <a:gd name="connsiteY0" fmla="*/ 0 h 6959742"/>
              <a:gd name="connsiteX1" fmla="*/ 2952750 w 5575300"/>
              <a:gd name="connsiteY1" fmla="*/ 19051 h 6959742"/>
              <a:gd name="connsiteX2" fmla="*/ 5575300 w 5575300"/>
              <a:gd name="connsiteY2" fmla="*/ 6959742 h 6959742"/>
              <a:gd name="connsiteX3" fmla="*/ 2133600 w 5575300"/>
              <a:gd name="connsiteY3" fmla="*/ 6959742 h 6959742"/>
              <a:gd name="connsiteX4" fmla="*/ 0 w 5575300"/>
              <a:gd name="connsiteY4" fmla="*/ 0 h 6959742"/>
              <a:gd name="connsiteX0" fmla="*/ 0 w 5575300"/>
              <a:gd name="connsiteY0" fmla="*/ 0 h 6988317"/>
              <a:gd name="connsiteX1" fmla="*/ 2952750 w 5575300"/>
              <a:gd name="connsiteY1" fmla="*/ 19051 h 6988317"/>
              <a:gd name="connsiteX2" fmla="*/ 5575300 w 5575300"/>
              <a:gd name="connsiteY2" fmla="*/ 6959742 h 6988317"/>
              <a:gd name="connsiteX3" fmla="*/ 0 w 5575300"/>
              <a:gd name="connsiteY3" fmla="*/ 6988317 h 6988317"/>
              <a:gd name="connsiteX4" fmla="*/ 0 w 5575300"/>
              <a:gd name="connsiteY4" fmla="*/ 0 h 6988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5300" h="6988317">
                <a:moveTo>
                  <a:pt x="0" y="0"/>
                </a:moveTo>
                <a:lnTo>
                  <a:pt x="2952750" y="19051"/>
                </a:lnTo>
                <a:lnTo>
                  <a:pt x="5575300" y="6959742"/>
                </a:lnTo>
                <a:lnTo>
                  <a:pt x="0" y="6988317"/>
                </a:lnTo>
                <a:lnTo>
                  <a:pt x="0" y="0"/>
                </a:lnTo>
                <a:close/>
              </a:path>
            </a:pathLst>
          </a:custGeom>
          <a:solidFill>
            <a:schemeClr val="bg1">
              <a:lumMod val="65000"/>
            </a:schemeClr>
          </a:solidFill>
        </p:spPr>
        <p:txBody>
          <a:bodyPr lIns="216000" tIns="3060000"/>
          <a:lstStyle>
            <a:lvl1pPr algn="ctr">
              <a:defRPr sz="1400" b="1">
                <a:solidFill>
                  <a:schemeClr val="bg1"/>
                </a:solidFill>
              </a:defRPr>
            </a:lvl1pPr>
          </a:lstStyle>
          <a:p>
            <a:endParaRPr lang="en-US"/>
          </a:p>
        </p:txBody>
      </p:sp>
    </p:spTree>
    <p:extLst>
      <p:ext uri="{BB962C8B-B14F-4D97-AF65-F5344CB8AC3E}">
        <p14:creationId xmlns:p14="http://schemas.microsoft.com/office/powerpoint/2010/main" val="100198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White disclaimer">
    <p:spTree>
      <p:nvGrpSpPr>
        <p:cNvPr id="1" name=""/>
        <p:cNvGrpSpPr/>
        <p:nvPr/>
      </p:nvGrpSpPr>
      <p:grpSpPr>
        <a:xfrm>
          <a:off x="0" y="0"/>
          <a:ext cx="0" cy="0"/>
          <a:chOff x="0" y="0"/>
          <a:chExt cx="0" cy="0"/>
        </a:xfrm>
      </p:grpSpPr>
      <p:sp>
        <p:nvSpPr>
          <p:cNvPr id="4" name="Rectangle 3"/>
          <p:cNvSpPr/>
          <p:nvPr userDrawn="1"/>
        </p:nvSpPr>
        <p:spPr>
          <a:xfrm>
            <a:off x="608013" y="3926361"/>
            <a:ext cx="7956550" cy="1569660"/>
          </a:xfrm>
          <a:prstGeom prst="rect">
            <a:avLst/>
          </a:prstGeom>
        </p:spPr>
        <p:txBody>
          <a:bodyPr wrap="square" lIns="0" tIns="0" rIns="0" bIns="0">
            <a:spAutoFit/>
          </a:bodyPr>
          <a:lstStyle/>
          <a:p>
            <a:pPr>
              <a:spcAft>
                <a:spcPts val="600"/>
              </a:spcAft>
            </a:pPr>
            <a:r>
              <a:rPr lang="en-AU" sz="700" b="1" dirty="0">
                <a:solidFill>
                  <a:srgbClr val="A38F68"/>
                </a:solidFill>
                <a:cs typeface="Segoe UI"/>
              </a:rPr>
              <a:t>DISCLAIMER</a:t>
            </a:r>
          </a:p>
          <a:p>
            <a:pPr>
              <a:spcAft>
                <a:spcPts val="600"/>
              </a:spcAft>
            </a:pPr>
            <a:r>
              <a:rPr lang="en-AU" sz="700" dirty="0">
                <a:solidFill>
                  <a:srgbClr val="000000"/>
                </a:solidFill>
                <a:cs typeface="Segoe UI"/>
              </a:rPr>
              <a:t>This presentation has been prepared by a representative of Advisian.</a:t>
            </a:r>
          </a:p>
          <a:p>
            <a:pPr>
              <a:spcAft>
                <a:spcPts val="600"/>
              </a:spcAft>
            </a:pPr>
            <a:r>
              <a:rPr lang="en-AU" sz="700" dirty="0">
                <a:solidFill>
                  <a:srgbClr val="000000"/>
                </a:solidFill>
                <a:cs typeface="Segoe UI"/>
              </a:rPr>
              <a:t>The presentation contains the professional and personal opinions of the presenter, which are given in good faith.  As such, opinions presented herein may not always necessarily reflect the position of </a:t>
            </a:r>
            <a:r>
              <a:rPr lang="en-AU" sz="700" dirty="0">
                <a:solidFill>
                  <a:srgbClr val="000000"/>
                </a:solidFill>
                <a:cs typeface="+mn-cs"/>
              </a:rPr>
              <a:t>Advisian </a:t>
            </a:r>
            <a:r>
              <a:rPr lang="en-AU" sz="700" dirty="0">
                <a:solidFill>
                  <a:srgbClr val="000000"/>
                </a:solidFill>
                <a:cs typeface="Segoe UI"/>
              </a:rPr>
              <a:t>as a whole, its officers or executive.</a:t>
            </a:r>
          </a:p>
          <a:p>
            <a:pPr>
              <a:spcAft>
                <a:spcPts val="600"/>
              </a:spcAft>
            </a:pPr>
            <a:r>
              <a:rPr lang="en-AU" sz="700" dirty="0">
                <a:solidFill>
                  <a:srgbClr val="000000"/>
                </a:solidFill>
                <a:cs typeface="Segoe UI"/>
              </a:rPr>
              <a:t>Any forward-looking statements included in this presentation will involve subjective judgment and analysis and are subject to uncertainties, risks and contingencies—many of which are outside the control of, and may be unknown to, </a:t>
            </a:r>
            <a:r>
              <a:rPr lang="en-AU" sz="700" dirty="0">
                <a:solidFill>
                  <a:srgbClr val="000000"/>
                </a:solidFill>
                <a:cs typeface="+mn-cs"/>
              </a:rPr>
              <a:t>Advisian.  </a:t>
            </a:r>
            <a:endParaRPr lang="en-AU" sz="700" dirty="0">
              <a:solidFill>
                <a:srgbClr val="000000"/>
              </a:solidFill>
              <a:cs typeface="Segoe UI"/>
            </a:endParaRPr>
          </a:p>
          <a:p>
            <a:pPr>
              <a:spcAft>
                <a:spcPts val="600"/>
              </a:spcAft>
            </a:pPr>
            <a:r>
              <a:rPr lang="en-AU" sz="700" dirty="0">
                <a:solidFill>
                  <a:srgbClr val="000000"/>
                </a:solidFill>
                <a:cs typeface="+mn-cs"/>
              </a:rPr>
              <a:t>Advisian </a:t>
            </a:r>
            <a:r>
              <a:rPr lang="en-AU" sz="700" dirty="0">
                <a:solidFill>
                  <a:srgbClr val="000000"/>
                </a:solidFill>
                <a:cs typeface="Segoe UI"/>
              </a:rPr>
              <a:t>and all associated entities and representatives make no representation or warranty as to the accuracy, reliability or completeness of information in this document and do not take responsibility for updating any information or correcting any error or omission that may become apparent after this document has been issued.</a:t>
            </a:r>
          </a:p>
          <a:p>
            <a:pPr>
              <a:spcAft>
                <a:spcPts val="600"/>
              </a:spcAft>
            </a:pPr>
            <a:r>
              <a:rPr lang="en-AU" sz="700" dirty="0">
                <a:solidFill>
                  <a:srgbClr val="000000"/>
                </a:solidFill>
                <a:cs typeface="Segoe UI"/>
              </a:rPr>
              <a:t>To the extent permitted by law, </a:t>
            </a:r>
            <a:r>
              <a:rPr lang="en-AU" sz="700" dirty="0">
                <a:solidFill>
                  <a:srgbClr val="000000"/>
                </a:solidFill>
                <a:cs typeface="+mn-cs"/>
              </a:rPr>
              <a:t>Advisian </a:t>
            </a:r>
            <a:r>
              <a:rPr lang="en-AU" sz="700" dirty="0">
                <a:solidFill>
                  <a:srgbClr val="000000"/>
                </a:solidFill>
                <a:cs typeface="Segoe UI"/>
              </a:rPr>
              <a:t>and its officers, employees, related bodies and agents disclaim all liability—direct, indirect or consequential (and whether or not arising out of the negligence, default or lack of care of </a:t>
            </a:r>
            <a:r>
              <a:rPr lang="en-AU" sz="700" dirty="0">
                <a:solidFill>
                  <a:srgbClr val="000000"/>
                </a:solidFill>
                <a:cs typeface="+mn-cs"/>
              </a:rPr>
              <a:t>Advisian </a:t>
            </a:r>
            <a:r>
              <a:rPr lang="en-AU" sz="700" dirty="0">
                <a:solidFill>
                  <a:srgbClr val="000000"/>
                </a:solidFill>
                <a:cs typeface="Segoe UI"/>
              </a:rPr>
              <a:t>and/or any of its agents)—for any loss or damage suffered by a recipient or other persons arising out of, or in connection with, any use or reliance on this presentation or information.</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5525" y="792432"/>
            <a:ext cx="1367269" cy="471420"/>
          </a:xfrm>
          <a:prstGeom prst="rect">
            <a:avLst/>
          </a:prstGeom>
          <a:noFill/>
          <a:ln>
            <a:noFill/>
          </a:ln>
        </p:spPr>
      </p:pic>
    </p:spTree>
    <p:extLst>
      <p:ext uri="{BB962C8B-B14F-4D97-AF65-F5344CB8AC3E}">
        <p14:creationId xmlns:p14="http://schemas.microsoft.com/office/powerpoint/2010/main" val="3775453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 White back pag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87580" y="2942242"/>
            <a:ext cx="2968840" cy="973516"/>
          </a:xfrm>
          <a:prstGeom prst="rect">
            <a:avLst/>
          </a:prstGeom>
          <a:noFill/>
          <a:ln>
            <a:noFill/>
          </a:ln>
        </p:spPr>
      </p:pic>
    </p:spTree>
    <p:extLst>
      <p:ext uri="{BB962C8B-B14F-4D97-AF65-F5344CB8AC3E}">
        <p14:creationId xmlns:p14="http://schemas.microsoft.com/office/powerpoint/2010/main" val="3365835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Blank Page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5833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userDrawn="1">
  <p:cSld name="Advisian Cover white">
    <p:spTree>
      <p:nvGrpSpPr>
        <p:cNvPr id="1" name=""/>
        <p:cNvGrpSpPr/>
        <p:nvPr/>
      </p:nvGrpSpPr>
      <p:grpSpPr>
        <a:xfrm>
          <a:off x="0" y="0"/>
          <a:ext cx="0" cy="0"/>
          <a:chOff x="0" y="0"/>
          <a:chExt cx="0" cy="0"/>
        </a:xfrm>
      </p:grpSpPr>
      <p:sp>
        <p:nvSpPr>
          <p:cNvPr id="10" name="Freeform 9"/>
          <p:cNvSpPr/>
          <p:nvPr userDrawn="1"/>
        </p:nvSpPr>
        <p:spPr>
          <a:xfrm>
            <a:off x="4107180" y="-22860"/>
            <a:ext cx="5059680" cy="5509260"/>
          </a:xfrm>
          <a:custGeom>
            <a:avLst/>
            <a:gdLst>
              <a:gd name="connsiteX0" fmla="*/ 0 w 5059680"/>
              <a:gd name="connsiteY0" fmla="*/ 7620 h 5509260"/>
              <a:gd name="connsiteX1" fmla="*/ 2095500 w 5059680"/>
              <a:gd name="connsiteY1" fmla="*/ 5509260 h 5509260"/>
              <a:gd name="connsiteX2" fmla="*/ 5059680 w 5059680"/>
              <a:gd name="connsiteY2" fmla="*/ 5509260 h 5509260"/>
              <a:gd name="connsiteX3" fmla="*/ 5059680 w 5059680"/>
              <a:gd name="connsiteY3" fmla="*/ 0 h 5509260"/>
              <a:gd name="connsiteX4" fmla="*/ 0 w 5059680"/>
              <a:gd name="connsiteY4" fmla="*/ 7620 h 5509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9680" h="5509260">
                <a:moveTo>
                  <a:pt x="0" y="7620"/>
                </a:moveTo>
                <a:lnTo>
                  <a:pt x="2095500" y="5509260"/>
                </a:lnTo>
                <a:lnTo>
                  <a:pt x="5059680" y="5509260"/>
                </a:lnTo>
                <a:lnTo>
                  <a:pt x="5059680" y="0"/>
                </a:lnTo>
                <a:lnTo>
                  <a:pt x="0" y="762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sp>
        <p:nvSpPr>
          <p:cNvPr id="13" name="Parallelogram 10"/>
          <p:cNvSpPr/>
          <p:nvPr userDrawn="1"/>
        </p:nvSpPr>
        <p:spPr>
          <a:xfrm>
            <a:off x="0" y="690992"/>
            <a:ext cx="7595296" cy="6167008"/>
          </a:xfrm>
          <a:custGeom>
            <a:avLst/>
            <a:gdLst/>
            <a:ahLst/>
            <a:cxnLst/>
            <a:rect l="l" t="t" r="r" b="b"/>
            <a:pathLst>
              <a:path w="7595296" h="6167008">
                <a:moveTo>
                  <a:pt x="979814" y="0"/>
                </a:moveTo>
                <a:lnTo>
                  <a:pt x="7595296" y="0"/>
                </a:lnTo>
                <a:lnTo>
                  <a:pt x="4949095" y="6167008"/>
                </a:lnTo>
                <a:lnTo>
                  <a:pt x="4805101" y="6167008"/>
                </a:lnTo>
                <a:lnTo>
                  <a:pt x="7389158" y="144828"/>
                </a:lnTo>
                <a:lnTo>
                  <a:pt x="1086113" y="144828"/>
                </a:lnTo>
                <a:lnTo>
                  <a:pt x="0" y="2676029"/>
                </a:lnTo>
                <a:lnTo>
                  <a:pt x="0" y="2283470"/>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pic>
        <p:nvPicPr>
          <p:cNvPr id="18"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12944" y="5832645"/>
            <a:ext cx="1800200" cy="620691"/>
          </a:xfrm>
          <a:prstGeom prst="rect">
            <a:avLst/>
          </a:prstGeom>
        </p:spPr>
      </p:pic>
      <p:sp>
        <p:nvSpPr>
          <p:cNvPr id="20" name="Date Placeholder 3"/>
          <p:cNvSpPr txBox="1">
            <a:spLocks/>
          </p:cNvSpPr>
          <p:nvPr userDrawn="1"/>
        </p:nvSpPr>
        <p:spPr>
          <a:xfrm>
            <a:off x="827088" y="6276596"/>
            <a:ext cx="1269504" cy="216024"/>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1000" dirty="0">
                <a:solidFill>
                  <a:srgbClr val="000000"/>
                </a:solidFill>
                <a:ea typeface="Segoe UI" panose="020B0502040204020203" pitchFamily="34" charset="0"/>
                <a:cs typeface="Segoe UI" panose="020B0502040204020203" pitchFamily="34" charset="0"/>
              </a:rPr>
              <a:t>www.</a:t>
            </a:r>
            <a:r>
              <a:rPr lang="en-AU" sz="1000" b="1" dirty="0">
                <a:solidFill>
                  <a:srgbClr val="000000"/>
                </a:solidFill>
                <a:ea typeface="Segoe UI" panose="020B0502040204020203" pitchFamily="34" charset="0"/>
                <a:cs typeface="Segoe UI" panose="020B0502040204020203" pitchFamily="34" charset="0"/>
              </a:rPr>
              <a:t>advisian</a:t>
            </a:r>
            <a:r>
              <a:rPr lang="en-AU" sz="1000" dirty="0">
                <a:solidFill>
                  <a:srgbClr val="000000"/>
                </a:solidFill>
                <a:ea typeface="Segoe UI" panose="020B0502040204020203" pitchFamily="34" charset="0"/>
                <a:cs typeface="Segoe UI" panose="020B0502040204020203" pitchFamily="34" charset="0"/>
              </a:rPr>
              <a:t>.com</a:t>
            </a:r>
          </a:p>
        </p:txBody>
      </p:sp>
      <p:sp>
        <p:nvSpPr>
          <p:cNvPr id="3" name="Title 2"/>
          <p:cNvSpPr>
            <a:spLocks noGrp="1"/>
          </p:cNvSpPr>
          <p:nvPr>
            <p:ph type="title"/>
          </p:nvPr>
        </p:nvSpPr>
        <p:spPr>
          <a:xfrm>
            <a:off x="827088" y="2155283"/>
            <a:ext cx="3990477" cy="1492791"/>
          </a:xfrm>
        </p:spPr>
        <p:txBody>
          <a:bodyPr/>
          <a:lstStyle>
            <a:lvl1pPr rtl="0">
              <a:defRPr/>
            </a:lvl1pPr>
          </a:lstStyle>
          <a:p>
            <a:r>
              <a:rPr lang="en-US"/>
              <a:t>Click to edit Master title style</a:t>
            </a:r>
            <a:endParaRPr lang="en-AU" dirty="0"/>
          </a:p>
        </p:txBody>
      </p:sp>
      <p:sp>
        <p:nvSpPr>
          <p:cNvPr id="6" name="Text Placeholder 5"/>
          <p:cNvSpPr>
            <a:spLocks noGrp="1"/>
          </p:cNvSpPr>
          <p:nvPr>
            <p:ph type="body" sz="quarter" idx="10"/>
          </p:nvPr>
        </p:nvSpPr>
        <p:spPr>
          <a:xfrm>
            <a:off x="827088" y="3810000"/>
            <a:ext cx="4030662" cy="393700"/>
          </a:xfrm>
        </p:spPr>
        <p:txBody>
          <a:bodyPr>
            <a:noAutofit/>
          </a:bodyPr>
          <a:lstStyle>
            <a:lvl1pPr rtl="0">
              <a:spcAft>
                <a:spcPts val="0"/>
              </a:spcAft>
              <a:defRPr sz="1800"/>
            </a:lvl1pPr>
            <a:lvl2pPr>
              <a:defRPr sz="1800"/>
            </a:lvl2pPr>
            <a:lvl3pPr>
              <a:defRPr sz="1800"/>
            </a:lvl3pPr>
            <a:lvl4pPr>
              <a:defRPr sz="1800"/>
            </a:lvl4pPr>
            <a:lvl5pPr>
              <a:defRPr sz="1800"/>
            </a:lvl5pPr>
          </a:lstStyle>
          <a:p>
            <a:pPr lvl="0"/>
            <a:r>
              <a:rPr lang="en-US"/>
              <a:t>Click to edit Master text styles</a:t>
            </a:r>
          </a:p>
        </p:txBody>
      </p:sp>
      <p:sp>
        <p:nvSpPr>
          <p:cNvPr id="8" name="Text Placeholder 7"/>
          <p:cNvSpPr>
            <a:spLocks noGrp="1"/>
          </p:cNvSpPr>
          <p:nvPr>
            <p:ph type="body" sz="quarter" idx="11"/>
          </p:nvPr>
        </p:nvSpPr>
        <p:spPr>
          <a:xfrm>
            <a:off x="827088" y="4865737"/>
            <a:ext cx="4059237" cy="533400"/>
          </a:xfrm>
        </p:spPr>
        <p:txBody>
          <a:bodyPr>
            <a:noAutofit/>
          </a:bodyPr>
          <a:lstStyle>
            <a:lvl1pPr marL="0" indent="0" rtl="0">
              <a:spcAft>
                <a:spcPts val="0"/>
              </a:spcAft>
              <a:buFont typeface="Arial" panose="020B0604020202020204" pitchFamily="34" charset="0"/>
              <a:buNone/>
              <a:defRPr sz="1000"/>
            </a:lvl1pPr>
            <a:lvl2pPr marL="0" indent="0">
              <a:buNone/>
              <a:defRPr sz="1000"/>
            </a:lvl2pPr>
            <a:lvl3pPr marL="358775" indent="0">
              <a:buNone/>
              <a:defRPr sz="1000"/>
            </a:lvl3pPr>
            <a:lvl4pPr marL="715963" indent="0">
              <a:buNone/>
              <a:defRPr sz="1000"/>
            </a:lvl4pPr>
            <a:lvl5pPr marL="1074737" indent="0">
              <a:buNone/>
              <a:defRPr sz="1000"/>
            </a:lvl5pPr>
          </a:lstStyle>
          <a:p>
            <a:pPr lvl="0"/>
            <a:r>
              <a:rPr lang="en-US"/>
              <a:t>Click to edit Master text styles</a:t>
            </a:r>
          </a:p>
        </p:txBody>
      </p:sp>
    </p:spTree>
    <p:extLst>
      <p:ext uri="{BB962C8B-B14F-4D97-AF65-F5344CB8AC3E}">
        <p14:creationId xmlns:p14="http://schemas.microsoft.com/office/powerpoint/2010/main" val="2800940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userDrawn="1">
  <p:cSld name="Advisian title and tex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788343" y="47625"/>
            <a:ext cx="8136904" cy="807306"/>
          </a:xfrm>
          <a:prstGeom prst="rect">
            <a:avLst/>
          </a:prstGeom>
        </p:spPr>
        <p:txBody>
          <a:bodyPr vert="horz" lIns="0" tIns="0" rIns="0" bIns="0" rtlCol="0" anchor="b" anchorCtr="0">
            <a:normAutofit/>
          </a:bodyPr>
          <a:lstStyle>
            <a:lvl1pPr rtl="0">
              <a:defRPr b="1">
                <a:solidFill>
                  <a:srgbClr val="162934"/>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3" name="Content Placeholder 2"/>
          <p:cNvSpPr>
            <a:spLocks noGrp="1"/>
          </p:cNvSpPr>
          <p:nvPr>
            <p:ph sz="quarter" idx="10"/>
          </p:nvPr>
        </p:nvSpPr>
        <p:spPr>
          <a:xfrm>
            <a:off x="800099" y="1341439"/>
            <a:ext cx="8031163" cy="4967882"/>
          </a:xfrm>
        </p:spPr>
        <p:txBody>
          <a:bodyPr>
            <a:normAutofit/>
          </a:bodyPr>
          <a:lstStyle>
            <a:lvl1pPr marL="0" indent="0" rtl="0">
              <a:spcAft>
                <a:spcPts val="600"/>
              </a:spcAft>
              <a:buNone/>
              <a:defRPr sz="2000">
                <a:latin typeface="Segoe UI" panose="020B0502040204020203" pitchFamily="34" charset="0"/>
                <a:ea typeface="Segoe UI" panose="020B0502040204020203" pitchFamily="34" charset="0"/>
                <a:cs typeface="Segoe UI" panose="020B0502040204020203" pitchFamily="34" charset="0"/>
              </a:defRPr>
            </a:lvl1pPr>
            <a:lvl2pPr marL="358775" indent="-358775" rtl="0">
              <a:spcAft>
                <a:spcPts val="600"/>
              </a:spcAft>
              <a:buClr>
                <a:schemeClr val="accent1"/>
              </a:buClr>
              <a:buFont typeface="Arial" panose="020B0604020202020204" pitchFamily="34" charset="0"/>
              <a:buChar char="•"/>
              <a:defRPr sz="2000">
                <a:latin typeface="Segoe UI" panose="020B0502040204020203" pitchFamily="34" charset="0"/>
                <a:ea typeface="Segoe UI" panose="020B0502040204020203" pitchFamily="34" charset="0"/>
                <a:cs typeface="Segoe UI" panose="020B0502040204020203" pitchFamily="34" charset="0"/>
              </a:defRPr>
            </a:lvl2pPr>
            <a:lvl3pPr marL="715963" indent="-357188" rtl="0">
              <a:spcAft>
                <a:spcPts val="600"/>
              </a:spcAft>
              <a:buClr>
                <a:schemeClr val="accent1"/>
              </a:buClr>
              <a:buFont typeface="Arial" panose="020B0604020202020204" pitchFamily="34" charset="0"/>
              <a:buChar char="-"/>
              <a:defRPr sz="2000">
                <a:latin typeface="Segoe UI" panose="020B0502040204020203" pitchFamily="34" charset="0"/>
                <a:ea typeface="Segoe UI" panose="020B0502040204020203" pitchFamily="34" charset="0"/>
                <a:cs typeface="Segoe UI" panose="020B0502040204020203" pitchFamily="34" charset="0"/>
              </a:defRPr>
            </a:lvl3pPr>
            <a:lvl4pPr marL="1058863" indent="-342900" rtl="0">
              <a:spcAft>
                <a:spcPts val="600"/>
              </a:spcAft>
              <a:buClr>
                <a:schemeClr val="accent1"/>
              </a:buClr>
              <a:buSzPct val="90000"/>
              <a:buFont typeface="Arial" panose="020B0604020202020204" pitchFamily="34" charset="0"/>
              <a:buChar char="•"/>
              <a:defRPr sz="2000">
                <a:latin typeface="Segoe UI" panose="020B0502040204020203" pitchFamily="34" charset="0"/>
                <a:ea typeface="Segoe UI" panose="020B0502040204020203" pitchFamily="34" charset="0"/>
                <a:cs typeface="Segoe UI" panose="020B0502040204020203" pitchFamily="34" charset="0"/>
              </a:defRPr>
            </a:lvl4pPr>
            <a:lvl5pPr marL="1431925" indent="-357188">
              <a:spcAft>
                <a:spcPts val="2400"/>
              </a:spcAft>
              <a:buFont typeface="Arial" panose="020B0604020202020204" pitchFamily="34" charset="0"/>
              <a:buChar char="•"/>
              <a:defRPr sz="2000">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Slide Number Placeholder 1"/>
          <p:cNvSpPr>
            <a:spLocks noGrp="1"/>
          </p:cNvSpPr>
          <p:nvPr>
            <p:ph type="sldNum" sz="quarter" idx="11"/>
          </p:nvPr>
        </p:nvSpPr>
        <p:spPr>
          <a:xfrm>
            <a:off x="7308304" y="6525344"/>
            <a:ext cx="1512168" cy="196131"/>
          </a:xfrm>
          <a:prstGeom prst="rect">
            <a:avLst/>
          </a:prstGeom>
        </p:spPr>
        <p:txBody>
          <a:bodyPr/>
          <a:lstStyle>
            <a:lvl1pPr rtl="0">
              <a:defRPr>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defRPr>
            </a:lvl1pPr>
          </a:lstStyle>
          <a:p>
            <a:r>
              <a:rPr lang="en-AU">
                <a:solidFill>
                  <a:prstClr val="white">
                    <a:lumMod val="50000"/>
                  </a:prstClr>
                </a:solidFill>
              </a:rPr>
              <a:t> Advisian  / </a:t>
            </a:r>
            <a:fld id="{CFD780AD-5876-4BCA-80DC-E96648A7269F}" type="slidenum">
              <a:rPr lang="en-AU" smtClean="0">
                <a:solidFill>
                  <a:prstClr val="white">
                    <a:lumMod val="50000"/>
                  </a:prstClr>
                </a:solidFill>
              </a:rPr>
              <a:pPr/>
              <a:t>‹#›</a:t>
            </a:fld>
            <a:endParaRPr lang="en-AU" dirty="0">
              <a:solidFill>
                <a:prstClr val="white">
                  <a:lumMod val="50000"/>
                </a:prstClr>
              </a:solidFill>
            </a:endParaRPr>
          </a:p>
        </p:txBody>
      </p:sp>
      <p:sp>
        <p:nvSpPr>
          <p:cNvPr id="6" name="Freeform 5"/>
          <p:cNvSpPr/>
          <p:nvPr userDrawn="1"/>
        </p:nvSpPr>
        <p:spPr>
          <a:xfrm>
            <a:off x="-9420" y="89621"/>
            <a:ext cx="588169" cy="878681"/>
          </a:xfrm>
          <a:custGeom>
            <a:avLst/>
            <a:gdLst>
              <a:gd name="connsiteX0" fmla="*/ 0 w 588169"/>
              <a:gd name="connsiteY0" fmla="*/ 0 h 878681"/>
              <a:gd name="connsiteX1" fmla="*/ 261937 w 588169"/>
              <a:gd name="connsiteY1" fmla="*/ 0 h 878681"/>
              <a:gd name="connsiteX2" fmla="*/ 588169 w 588169"/>
              <a:gd name="connsiteY2" fmla="*/ 878681 h 878681"/>
              <a:gd name="connsiteX3" fmla="*/ 0 w 588169"/>
              <a:gd name="connsiteY3" fmla="*/ 878681 h 878681"/>
              <a:gd name="connsiteX4" fmla="*/ 0 w 588169"/>
              <a:gd name="connsiteY4" fmla="*/ 797719 h 878681"/>
              <a:gd name="connsiteX5" fmla="*/ 473869 w 588169"/>
              <a:gd name="connsiteY5" fmla="*/ 797719 h 878681"/>
              <a:gd name="connsiteX6" fmla="*/ 207169 w 588169"/>
              <a:gd name="connsiteY6" fmla="*/ 83344 h 878681"/>
              <a:gd name="connsiteX7" fmla="*/ 2381 w 588169"/>
              <a:gd name="connsiteY7" fmla="*/ 83344 h 878681"/>
              <a:gd name="connsiteX8" fmla="*/ 0 w 588169"/>
              <a:gd name="connsiteY8" fmla="*/ 0 h 8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169" h="878681">
                <a:moveTo>
                  <a:pt x="0" y="0"/>
                </a:moveTo>
                <a:lnTo>
                  <a:pt x="261937" y="0"/>
                </a:lnTo>
                <a:lnTo>
                  <a:pt x="588169" y="878681"/>
                </a:lnTo>
                <a:lnTo>
                  <a:pt x="0" y="878681"/>
                </a:lnTo>
                <a:lnTo>
                  <a:pt x="0" y="797719"/>
                </a:lnTo>
                <a:lnTo>
                  <a:pt x="473869" y="797719"/>
                </a:lnTo>
                <a:lnTo>
                  <a:pt x="207169" y="83344"/>
                </a:lnTo>
                <a:lnTo>
                  <a:pt x="2381" y="83344"/>
                </a:lnTo>
                <a:cubicBezTo>
                  <a:pt x="1587" y="55563"/>
                  <a:pt x="794" y="27781"/>
                  <a:pt x="0" y="0"/>
                </a:cubicBez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sp>
        <p:nvSpPr>
          <p:cNvPr id="8" name="Parallelogram 11"/>
          <p:cNvSpPr/>
          <p:nvPr userDrawn="1"/>
        </p:nvSpPr>
        <p:spPr>
          <a:xfrm>
            <a:off x="-9420" y="51845"/>
            <a:ext cx="725378" cy="704528"/>
          </a:xfrm>
          <a:custGeom>
            <a:avLst/>
            <a:gdLst/>
            <a:ahLst/>
            <a:cxnLst/>
            <a:rect l="l" t="t" r="r" b="b"/>
            <a:pathLst>
              <a:path w="725378" h="704528">
                <a:moveTo>
                  <a:pt x="0" y="0"/>
                </a:moveTo>
                <a:lnTo>
                  <a:pt x="725378" y="0"/>
                </a:lnTo>
                <a:lnTo>
                  <a:pt x="425341" y="704528"/>
                </a:lnTo>
                <a:lnTo>
                  <a:pt x="0" y="704528"/>
                </a:lnTo>
                <a:lnTo>
                  <a:pt x="0" y="683211"/>
                </a:lnTo>
                <a:lnTo>
                  <a:pt x="410955" y="683211"/>
                </a:lnTo>
                <a:lnTo>
                  <a:pt x="692835" y="21318"/>
                </a:lnTo>
                <a:lnTo>
                  <a:pt x="0" y="21318"/>
                </a:ln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spTree>
    <p:extLst>
      <p:ext uri="{BB962C8B-B14F-4D97-AF65-F5344CB8AC3E}">
        <p14:creationId xmlns:p14="http://schemas.microsoft.com/office/powerpoint/2010/main" val="1561405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Body - 1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p>
        </p:txBody>
      </p:sp>
      <p:sp>
        <p:nvSpPr>
          <p:cNvPr id="5" name="Content Placeholder 4"/>
          <p:cNvSpPr>
            <a:spLocks noGrp="1"/>
          </p:cNvSpPr>
          <p:nvPr>
            <p:ph sz="quarter" idx="10"/>
          </p:nvPr>
        </p:nvSpPr>
        <p:spPr>
          <a:xfrm>
            <a:off x="601663" y="1828800"/>
            <a:ext cx="7945200" cy="4673600"/>
          </a:xfrm>
          <a:prstGeom prst="rect">
            <a:avLst/>
          </a:prstGeom>
        </p:spPr>
        <p:txBody>
          <a:bodyPr lIns="0" tIns="0" rIns="0" bIns="0">
            <a:noAutofit/>
          </a:bodyPr>
          <a:lstStyle>
            <a:lvl3pPr marL="715963" indent="-357188">
              <a:buFont typeface="Segoe UI" panose="020B0502040204020203" pitchFamily="34" charset="0"/>
              <a:buChar char="̵"/>
              <a:defRPr/>
            </a:lvl3pPr>
            <a:lvl5pPr marL="1431925" indent="-357188">
              <a:buFont typeface="Segoe UI" panose="020B0502040204020203"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65008207"/>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p>
            <a:endParaRPr/>
          </a:p>
        </p:txBody>
      </p:sp>
      <p:sp>
        <p:nvSpPr>
          <p:cNvPr id="3" name="Holder 3"/>
          <p:cNvSpPr>
            <a:spLocks noGrp="1"/>
          </p:cNvSpPr>
          <p:nvPr>
            <p:ph sz="half" idx="2"/>
          </p:nvPr>
        </p:nvSpPr>
        <p:spPr>
          <a:xfrm>
            <a:off x="457629" y="1577340"/>
            <a:ext cx="3981373" cy="4526280"/>
          </a:xfrm>
          <a:prstGeom prst="rect">
            <a:avLst/>
          </a:prstGeom>
        </p:spPr>
        <p:txBody>
          <a:bodyPr wrap="square" lIns="0" tIns="0" rIns="0" bIns="0">
            <a:noAutofit/>
          </a:bodyPr>
          <a:lstStyle/>
          <a:p>
            <a:endParaRPr/>
          </a:p>
        </p:txBody>
      </p:sp>
      <p:sp>
        <p:nvSpPr>
          <p:cNvPr id="4" name="Holder 4"/>
          <p:cNvSpPr>
            <a:spLocks noGrp="1"/>
          </p:cNvSpPr>
          <p:nvPr>
            <p:ph sz="half" idx="3"/>
          </p:nvPr>
        </p:nvSpPr>
        <p:spPr>
          <a:xfrm>
            <a:off x="4713579" y="1577340"/>
            <a:ext cx="3981373" cy="4526280"/>
          </a:xfrm>
          <a:prstGeom prst="rect">
            <a:avLst/>
          </a:prstGeom>
        </p:spPr>
        <p:txBody>
          <a:bodyPr wrap="square" lIns="0" tIns="0" rIns="0" bIns="0">
            <a:noAutofit/>
          </a:body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9/4/2019</a:t>
            </a:fld>
            <a:endParaRPr lang="en-US"/>
          </a:p>
        </p:txBody>
      </p:sp>
      <p:sp>
        <p:nvSpPr>
          <p:cNvPr id="7" name="Holder 7"/>
          <p:cNvSpPr>
            <a:spLocks noGrp="1"/>
          </p:cNvSpPr>
          <p:nvPr>
            <p:ph type="sldNum" sz="quarter" idx="7"/>
          </p:nvPr>
        </p:nvSpPr>
        <p:spPr/>
        <p:txBody>
          <a:bodyPr lIns="0" tIns="0" rIns="0" bIns="0"/>
          <a:lstStyle/>
          <a:p>
            <a:pPr marL="53397"/>
            <a:fld id="{81D60167-4931-47E6-BA6A-407CBD079E47}" type="slidenum">
              <a:rPr lang="en-US" sz="1051" spc="-8" smtClean="0">
                <a:solidFill>
                  <a:srgbClr val="FFFFFF"/>
                </a:solidFill>
                <a:latin typeface="Calibri"/>
                <a:cs typeface="Calibri"/>
              </a:rPr>
              <a:pPr marL="53397"/>
              <a:t>‹#›</a:t>
            </a:fld>
            <a:endParaRPr lang="en-US" sz="1051">
              <a:latin typeface="Calibri"/>
              <a:cs typeface="Calibri"/>
            </a:endParaRPr>
          </a:p>
        </p:txBody>
      </p:sp>
    </p:spTree>
    <p:extLst>
      <p:ext uri="{BB962C8B-B14F-4D97-AF65-F5344CB8AC3E}">
        <p14:creationId xmlns:p14="http://schemas.microsoft.com/office/powerpoint/2010/main" val="242511066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userDrawn="1">
  <p:cSld name="IC8 Divider no image">
    <p:bg>
      <p:bgPr>
        <a:solidFill>
          <a:schemeClr val="tx2"/>
        </a:solid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600079" y="2226733"/>
            <a:ext cx="7896221" cy="3005667"/>
          </a:xfrm>
        </p:spPr>
        <p:txBody>
          <a:bodyPr anchor="t">
            <a:noAutofit/>
          </a:bodyPr>
          <a:lstStyle>
            <a:lvl1pPr>
              <a:lnSpc>
                <a:spcPts val="3600"/>
              </a:lnSpc>
              <a:defRPr sz="3600">
                <a:solidFill>
                  <a:schemeClr val="bg1"/>
                </a:solidFill>
              </a:defRPr>
            </a:lvl1pPr>
          </a:lstStyle>
          <a:p>
            <a:r>
              <a:rPr lang="en-US" dirty="0"/>
              <a:t>Click to edit Master title style</a:t>
            </a:r>
          </a:p>
        </p:txBody>
      </p:sp>
      <p:sp>
        <p:nvSpPr>
          <p:cNvPr id="5" name="Parallelogram 4"/>
          <p:cNvSpPr/>
          <p:nvPr userDrawn="1"/>
        </p:nvSpPr>
        <p:spPr>
          <a:xfrm>
            <a:off x="593726"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118376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 Pictures with headings - white">
    <p:spTree>
      <p:nvGrpSpPr>
        <p:cNvPr id="1" name=""/>
        <p:cNvGrpSpPr/>
        <p:nvPr/>
      </p:nvGrpSpPr>
      <p:grpSpPr>
        <a:xfrm>
          <a:off x="0" y="0"/>
          <a:ext cx="0" cy="0"/>
          <a:chOff x="0" y="0"/>
          <a:chExt cx="0" cy="0"/>
        </a:xfrm>
      </p:grpSpPr>
      <p:sp>
        <p:nvSpPr>
          <p:cNvPr id="30" name="Picture Placeholder 26"/>
          <p:cNvSpPr>
            <a:spLocks noGrp="1"/>
          </p:cNvSpPr>
          <p:nvPr>
            <p:ph type="pic" sz="quarter" idx="13"/>
          </p:nvPr>
        </p:nvSpPr>
        <p:spPr>
          <a:xfrm>
            <a:off x="-771525" y="346559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3" name="Picture Placeholder 26"/>
          <p:cNvSpPr>
            <a:spLocks noGrp="1"/>
          </p:cNvSpPr>
          <p:nvPr>
            <p:ph type="pic" sz="quarter" idx="16"/>
          </p:nvPr>
        </p:nvSpPr>
        <p:spPr>
          <a:xfrm>
            <a:off x="552450" y="-12927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18" name="Text Placeholder 36"/>
          <p:cNvSpPr>
            <a:spLocks noGrp="1"/>
          </p:cNvSpPr>
          <p:nvPr>
            <p:ph type="body" sz="quarter" idx="25"/>
          </p:nvPr>
        </p:nvSpPr>
        <p:spPr>
          <a:xfrm>
            <a:off x="545306" y="287660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5" name="Text Placeholder 36"/>
          <p:cNvSpPr>
            <a:spLocks noGrp="1"/>
          </p:cNvSpPr>
          <p:nvPr>
            <p:ph type="body" sz="quarter" idx="26"/>
          </p:nvPr>
        </p:nvSpPr>
        <p:spPr>
          <a:xfrm>
            <a:off x="321469" y="347747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9" name="Picture Placeholder 26"/>
          <p:cNvSpPr>
            <a:spLocks noGrp="1"/>
          </p:cNvSpPr>
          <p:nvPr>
            <p:ph type="pic" sz="quarter" idx="27"/>
          </p:nvPr>
        </p:nvSpPr>
        <p:spPr>
          <a:xfrm>
            <a:off x="1872615" y="346559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6" name="Picture Placeholder 26"/>
          <p:cNvSpPr>
            <a:spLocks noGrp="1"/>
          </p:cNvSpPr>
          <p:nvPr>
            <p:ph type="pic" sz="quarter" idx="28"/>
          </p:nvPr>
        </p:nvSpPr>
        <p:spPr>
          <a:xfrm>
            <a:off x="3196590" y="-12927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43" name="Text Placeholder 36"/>
          <p:cNvSpPr>
            <a:spLocks noGrp="1"/>
          </p:cNvSpPr>
          <p:nvPr>
            <p:ph type="body" sz="quarter" idx="29"/>
          </p:nvPr>
        </p:nvSpPr>
        <p:spPr>
          <a:xfrm>
            <a:off x="3189446" y="287660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4" name="Text Placeholder 36"/>
          <p:cNvSpPr>
            <a:spLocks noGrp="1"/>
          </p:cNvSpPr>
          <p:nvPr>
            <p:ph type="body" sz="quarter" idx="30"/>
          </p:nvPr>
        </p:nvSpPr>
        <p:spPr>
          <a:xfrm>
            <a:off x="2965609" y="347747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5" name="Picture Placeholder 26"/>
          <p:cNvSpPr>
            <a:spLocks noGrp="1"/>
          </p:cNvSpPr>
          <p:nvPr>
            <p:ph type="pic" sz="quarter" idx="31"/>
          </p:nvPr>
        </p:nvSpPr>
        <p:spPr>
          <a:xfrm>
            <a:off x="4509136" y="3465595"/>
            <a:ext cx="3987164"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46" name="Picture Placeholder 26"/>
          <p:cNvSpPr>
            <a:spLocks noGrp="1"/>
          </p:cNvSpPr>
          <p:nvPr>
            <p:ph type="pic" sz="quarter" idx="32"/>
          </p:nvPr>
        </p:nvSpPr>
        <p:spPr>
          <a:xfrm>
            <a:off x="5833110" y="-129275"/>
            <a:ext cx="3977640"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47" name="Text Placeholder 36"/>
          <p:cNvSpPr>
            <a:spLocks noGrp="1"/>
          </p:cNvSpPr>
          <p:nvPr>
            <p:ph type="body" sz="quarter" idx="33"/>
          </p:nvPr>
        </p:nvSpPr>
        <p:spPr>
          <a:xfrm>
            <a:off x="5831790" y="287660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8" name="Text Placeholder 36"/>
          <p:cNvSpPr>
            <a:spLocks noGrp="1"/>
          </p:cNvSpPr>
          <p:nvPr>
            <p:ph type="body" sz="quarter" idx="34"/>
          </p:nvPr>
        </p:nvSpPr>
        <p:spPr>
          <a:xfrm>
            <a:off x="5607953" y="347747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3832067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 Pictures with headings - white">
    <p:bg>
      <p:bgPr>
        <a:solidFill>
          <a:schemeClr val="bg1"/>
        </a:solidFill>
        <a:effectLst/>
      </p:bgPr>
    </p:bg>
    <p:spTree>
      <p:nvGrpSpPr>
        <p:cNvPr id="1" name=""/>
        <p:cNvGrpSpPr/>
        <p:nvPr/>
      </p:nvGrpSpPr>
      <p:grpSpPr>
        <a:xfrm>
          <a:off x="0" y="0"/>
          <a:ext cx="0" cy="0"/>
          <a:chOff x="0" y="0"/>
          <a:chExt cx="0" cy="0"/>
        </a:xfrm>
      </p:grpSpPr>
      <p:sp>
        <p:nvSpPr>
          <p:cNvPr id="30" name="Picture Placeholder 26"/>
          <p:cNvSpPr>
            <a:spLocks noGrp="1"/>
          </p:cNvSpPr>
          <p:nvPr>
            <p:ph type="pic" sz="quarter" idx="13"/>
          </p:nvPr>
        </p:nvSpPr>
        <p:spPr>
          <a:xfrm>
            <a:off x="-771525" y="346559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1" name="Picture Placeholder 26"/>
          <p:cNvSpPr>
            <a:spLocks noGrp="1"/>
          </p:cNvSpPr>
          <p:nvPr>
            <p:ph type="pic" sz="quarter" idx="14"/>
          </p:nvPr>
        </p:nvSpPr>
        <p:spPr>
          <a:xfrm>
            <a:off x="1899779" y="346559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2" name="Picture Placeholder 26"/>
          <p:cNvSpPr>
            <a:spLocks noGrp="1"/>
          </p:cNvSpPr>
          <p:nvPr>
            <p:ph type="pic" sz="quarter" idx="15"/>
          </p:nvPr>
        </p:nvSpPr>
        <p:spPr>
          <a:xfrm>
            <a:off x="4580608" y="346559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3" name="Picture Placeholder 26"/>
          <p:cNvSpPr>
            <a:spLocks noGrp="1"/>
          </p:cNvSpPr>
          <p:nvPr>
            <p:ph type="pic" sz="quarter" idx="16"/>
          </p:nvPr>
        </p:nvSpPr>
        <p:spPr>
          <a:xfrm>
            <a:off x="552450" y="-12927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4" name="Picture Placeholder 26"/>
          <p:cNvSpPr>
            <a:spLocks noGrp="1"/>
          </p:cNvSpPr>
          <p:nvPr>
            <p:ph type="pic" sz="quarter" idx="17"/>
          </p:nvPr>
        </p:nvSpPr>
        <p:spPr>
          <a:xfrm>
            <a:off x="3223754" y="-12927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5" name="Picture Placeholder 26"/>
          <p:cNvSpPr>
            <a:spLocks noGrp="1"/>
          </p:cNvSpPr>
          <p:nvPr>
            <p:ph type="pic" sz="quarter" idx="18"/>
          </p:nvPr>
        </p:nvSpPr>
        <p:spPr>
          <a:xfrm>
            <a:off x="5904583" y="-12927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7" name="Text Placeholder 36"/>
          <p:cNvSpPr>
            <a:spLocks noGrp="1"/>
          </p:cNvSpPr>
          <p:nvPr>
            <p:ph type="body" sz="quarter" idx="19"/>
          </p:nvPr>
        </p:nvSpPr>
        <p:spPr>
          <a:xfrm>
            <a:off x="-190500" y="59150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38" name="Text Placeholder 36"/>
          <p:cNvSpPr>
            <a:spLocks noGrp="1"/>
          </p:cNvSpPr>
          <p:nvPr>
            <p:ph type="body" sz="quarter" idx="20"/>
          </p:nvPr>
        </p:nvSpPr>
        <p:spPr>
          <a:xfrm>
            <a:off x="4591050" y="361950"/>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39" name="Text Placeholder 36"/>
          <p:cNvSpPr>
            <a:spLocks noGrp="1"/>
          </p:cNvSpPr>
          <p:nvPr>
            <p:ph type="body" sz="quarter" idx="21"/>
          </p:nvPr>
        </p:nvSpPr>
        <p:spPr>
          <a:xfrm>
            <a:off x="3324225" y="3714750"/>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1" name="Text Placeholder 36"/>
          <p:cNvSpPr>
            <a:spLocks noGrp="1"/>
          </p:cNvSpPr>
          <p:nvPr>
            <p:ph type="body" sz="quarter" idx="23"/>
          </p:nvPr>
        </p:nvSpPr>
        <p:spPr>
          <a:xfrm>
            <a:off x="5172075" y="59150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2" name="Text Placeholder 36"/>
          <p:cNvSpPr>
            <a:spLocks noGrp="1"/>
          </p:cNvSpPr>
          <p:nvPr>
            <p:ph type="body" sz="quarter" idx="24"/>
          </p:nvPr>
        </p:nvSpPr>
        <p:spPr>
          <a:xfrm>
            <a:off x="6400800" y="26003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5" name="Text Placeholder 36"/>
          <p:cNvSpPr>
            <a:spLocks noGrp="1"/>
          </p:cNvSpPr>
          <p:nvPr>
            <p:ph type="body" sz="quarter" idx="25"/>
          </p:nvPr>
        </p:nvSpPr>
        <p:spPr>
          <a:xfrm>
            <a:off x="990600" y="26003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228170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3 Pictures and heading - white">
    <p:bg>
      <p:bgPr>
        <a:solidFill>
          <a:schemeClr val="bg1"/>
        </a:solidFill>
        <a:effectLst/>
      </p:bgPr>
    </p:bg>
    <p:spTree>
      <p:nvGrpSpPr>
        <p:cNvPr id="1" name=""/>
        <p:cNvGrpSpPr/>
        <p:nvPr/>
      </p:nvGrpSpPr>
      <p:grpSpPr>
        <a:xfrm>
          <a:off x="0" y="0"/>
          <a:ext cx="0" cy="0"/>
          <a:chOff x="0" y="0"/>
          <a:chExt cx="0" cy="0"/>
        </a:xfrm>
      </p:grpSpPr>
      <p:sp>
        <p:nvSpPr>
          <p:cNvPr id="30" name="Picture Placeholder 26"/>
          <p:cNvSpPr>
            <a:spLocks noGrp="1"/>
          </p:cNvSpPr>
          <p:nvPr>
            <p:ph type="pic" sz="quarter" idx="13"/>
          </p:nvPr>
        </p:nvSpPr>
        <p:spPr>
          <a:xfrm>
            <a:off x="-7510" y="3427229"/>
            <a:ext cx="3863072" cy="3476625"/>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1" name="Picture Placeholder 26"/>
          <p:cNvSpPr>
            <a:spLocks noGrp="1"/>
          </p:cNvSpPr>
          <p:nvPr>
            <p:ph type="pic" sz="quarter" idx="14"/>
          </p:nvPr>
        </p:nvSpPr>
        <p:spPr>
          <a:xfrm>
            <a:off x="2579646" y="3427229"/>
            <a:ext cx="3863072" cy="3476625"/>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3" name="Picture Placeholder 26"/>
          <p:cNvSpPr>
            <a:spLocks noGrp="1"/>
          </p:cNvSpPr>
          <p:nvPr>
            <p:ph type="pic" sz="quarter" idx="16"/>
          </p:nvPr>
        </p:nvSpPr>
        <p:spPr>
          <a:xfrm>
            <a:off x="1267779" y="-47517"/>
            <a:ext cx="3863072" cy="3476625"/>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4" name="Picture Placeholder 26"/>
          <p:cNvSpPr>
            <a:spLocks noGrp="1"/>
          </p:cNvSpPr>
          <p:nvPr>
            <p:ph type="pic" sz="quarter" idx="17"/>
          </p:nvPr>
        </p:nvSpPr>
        <p:spPr>
          <a:xfrm>
            <a:off x="3858119" y="-47517"/>
            <a:ext cx="3863072" cy="3476625"/>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2" name="Title 1"/>
          <p:cNvSpPr>
            <a:spLocks noGrp="1"/>
          </p:cNvSpPr>
          <p:nvPr>
            <p:ph type="title"/>
          </p:nvPr>
        </p:nvSpPr>
        <p:spPr>
          <a:xfrm>
            <a:off x="6096000" y="4543426"/>
            <a:ext cx="2638424" cy="1495424"/>
          </a:xfrm>
        </p:spPr>
        <p:txBody>
          <a:bodyPr/>
          <a:lstStyle>
            <a:lvl1pPr algn="r">
              <a:lnSpc>
                <a:spcPct val="100000"/>
              </a:lnSpc>
              <a:defRPr sz="36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12969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4 Pictures with heading -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318250" y="733426"/>
            <a:ext cx="2425699" cy="1495424"/>
          </a:xfrm>
        </p:spPr>
        <p:txBody>
          <a:bodyPr/>
          <a:lstStyle>
            <a:lvl1pPr algn="r">
              <a:lnSpc>
                <a:spcPct val="100000"/>
              </a:lnSpc>
              <a:defRPr sz="3600">
                <a:solidFill>
                  <a:schemeClr val="tx1"/>
                </a:solidFill>
              </a:defRPr>
            </a:lvl1pPr>
          </a:lstStyle>
          <a:p>
            <a:r>
              <a:rPr lang="en-US" dirty="0"/>
              <a:t>Click to edit Master title style</a:t>
            </a:r>
          </a:p>
        </p:txBody>
      </p:sp>
      <p:sp>
        <p:nvSpPr>
          <p:cNvPr id="4" name="Picture Placeholder 3"/>
          <p:cNvSpPr>
            <a:spLocks noGrp="1"/>
          </p:cNvSpPr>
          <p:nvPr>
            <p:ph type="pic" sz="quarter" idx="14"/>
          </p:nvPr>
        </p:nvSpPr>
        <p:spPr>
          <a:xfrm>
            <a:off x="2676426" y="-7620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50000"/>
            </a:schemeClr>
          </a:solidFill>
        </p:spPr>
        <p:txBody>
          <a:bodyPr tIns="1296000"/>
          <a:lstStyle>
            <a:lvl1pPr algn="ctr">
              <a:defRPr sz="1100" b="1">
                <a:solidFill>
                  <a:schemeClr val="bg1"/>
                </a:solidFill>
              </a:defRPr>
            </a:lvl1pPr>
          </a:lstStyle>
          <a:p>
            <a:endParaRPr lang="en-US"/>
          </a:p>
        </p:txBody>
      </p:sp>
      <p:sp>
        <p:nvSpPr>
          <p:cNvPr id="10" name="Picture Placeholder 3"/>
          <p:cNvSpPr>
            <a:spLocks noGrp="1"/>
          </p:cNvSpPr>
          <p:nvPr>
            <p:ph type="pic" sz="quarter" idx="15"/>
          </p:nvPr>
        </p:nvSpPr>
        <p:spPr>
          <a:xfrm>
            <a:off x="-44549" y="-7620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65000"/>
            </a:schemeClr>
          </a:solidFill>
        </p:spPr>
        <p:txBody>
          <a:bodyPr tIns="1296000"/>
          <a:lstStyle>
            <a:lvl1pPr algn="ctr">
              <a:defRPr sz="1100" b="1">
                <a:solidFill>
                  <a:schemeClr val="bg1"/>
                </a:solidFill>
              </a:defRPr>
            </a:lvl1pPr>
          </a:lstStyle>
          <a:p>
            <a:endParaRPr lang="en-US"/>
          </a:p>
        </p:txBody>
      </p:sp>
      <p:sp>
        <p:nvSpPr>
          <p:cNvPr id="11" name="Picture Placeholder 3"/>
          <p:cNvSpPr>
            <a:spLocks noGrp="1"/>
          </p:cNvSpPr>
          <p:nvPr>
            <p:ph type="pic" sz="quarter" idx="16"/>
          </p:nvPr>
        </p:nvSpPr>
        <p:spPr>
          <a:xfrm>
            <a:off x="4009926" y="343535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65000"/>
            </a:schemeClr>
          </a:solidFill>
        </p:spPr>
        <p:txBody>
          <a:bodyPr tIns="1296000"/>
          <a:lstStyle>
            <a:lvl1pPr algn="ctr">
              <a:defRPr sz="1100" b="1">
                <a:solidFill>
                  <a:schemeClr val="bg1"/>
                </a:solidFill>
              </a:defRPr>
            </a:lvl1pPr>
          </a:lstStyle>
          <a:p>
            <a:endParaRPr lang="en-US"/>
          </a:p>
        </p:txBody>
      </p:sp>
      <p:sp>
        <p:nvSpPr>
          <p:cNvPr id="12" name="Picture Placeholder 3"/>
          <p:cNvSpPr>
            <a:spLocks noGrp="1"/>
          </p:cNvSpPr>
          <p:nvPr>
            <p:ph type="pic" sz="quarter" idx="17"/>
          </p:nvPr>
        </p:nvSpPr>
        <p:spPr>
          <a:xfrm>
            <a:off x="1282601" y="343535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50000"/>
            </a:schemeClr>
          </a:solidFill>
        </p:spPr>
        <p:txBody>
          <a:bodyPr tIns="1296000"/>
          <a:lstStyle>
            <a:lvl1pPr algn="ctr">
              <a:defRPr sz="1100" b="1">
                <a:solidFill>
                  <a:schemeClr val="bg1"/>
                </a:solidFill>
              </a:defRPr>
            </a:lvl1pPr>
          </a:lstStyle>
          <a:p>
            <a:endParaRPr lang="en-US"/>
          </a:p>
        </p:txBody>
      </p:sp>
    </p:spTree>
    <p:extLst>
      <p:ext uri="{BB962C8B-B14F-4D97-AF65-F5344CB8AC3E}">
        <p14:creationId xmlns:p14="http://schemas.microsoft.com/office/powerpoint/2010/main" val="707628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ull page image with heading whit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144000" cy="6858000"/>
          </a:xfrm>
        </p:spPr>
        <p:txBody>
          <a:bodyPr lIns="0" tIns="3060000"/>
          <a:lstStyle>
            <a:lvl1pPr algn="ctr">
              <a:defRPr sz="1400" b="1"/>
            </a:lvl1pPr>
          </a:lstStyle>
          <a:p>
            <a:endParaRPr lang="en-US"/>
          </a:p>
        </p:txBody>
      </p:sp>
      <p:sp>
        <p:nvSpPr>
          <p:cNvPr id="2" name="Title 1"/>
          <p:cNvSpPr>
            <a:spLocks noGrp="1"/>
          </p:cNvSpPr>
          <p:nvPr>
            <p:ph type="title"/>
          </p:nvPr>
        </p:nvSpPr>
        <p:spPr>
          <a:xfrm>
            <a:off x="4023360" y="4130041"/>
            <a:ext cx="4442460" cy="1790700"/>
          </a:xfrm>
        </p:spPr>
        <p:txBody>
          <a:bodyPr>
            <a:noAutofit/>
          </a:bodyPr>
          <a:lstStyle/>
          <a:p>
            <a:r>
              <a:rPr lang="en-US" dirty="0"/>
              <a:t>Click to edit Master title style</a:t>
            </a:r>
          </a:p>
        </p:txBody>
      </p:sp>
    </p:spTree>
    <p:extLst>
      <p:ext uri="{BB962C8B-B14F-4D97-AF65-F5344CB8AC3E}">
        <p14:creationId xmlns:p14="http://schemas.microsoft.com/office/powerpoint/2010/main" val="3708234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ody - 2 column white">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600079" y="1828801"/>
            <a:ext cx="3857623" cy="4648201"/>
          </a:xfrm>
          <a:prstGeom prst="rect">
            <a:avLst/>
          </a:prstGeom>
        </p:spPr>
        <p:txBody>
          <a:bodyPr lIns="0" tIns="0" rIns="0" bIns="0">
            <a:noAutofit/>
          </a:bodyPr>
          <a:lstStyle>
            <a:lvl1pPr>
              <a:defRPr sz="1600" b="0">
                <a:latin typeface="+mn-lt"/>
              </a:defRPr>
            </a:lvl1pPr>
            <a:lvl2pPr>
              <a:defRPr sz="1600" b="0">
                <a:latin typeface="+mn-lt"/>
              </a:defRPr>
            </a:lvl2pPr>
            <a:lvl3pPr marL="715963" indent="-357188">
              <a:buFont typeface="Segoe UI" panose="020B0502040204020203" pitchFamily="34" charset="0"/>
              <a:buChar char="̵"/>
              <a:defRPr sz="1600" b="0">
                <a:latin typeface="+mn-lt"/>
              </a:defRPr>
            </a:lvl3pPr>
            <a:lvl4pPr>
              <a:defRPr sz="1600" b="0">
                <a:latin typeface="+mn-lt"/>
              </a:defRPr>
            </a:lvl4pPr>
            <a:lvl5pPr marL="1431925" indent="-357188">
              <a:buFont typeface="Segoe UI" panose="020B0502040204020203" pitchFamily="34" charset="0"/>
              <a:buChar char="̵"/>
              <a:defRPr sz="1600"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6"/>
          <p:cNvSpPr>
            <a:spLocks noGrp="1"/>
          </p:cNvSpPr>
          <p:nvPr>
            <p:ph sz="quarter" idx="12"/>
          </p:nvPr>
        </p:nvSpPr>
        <p:spPr>
          <a:xfrm>
            <a:off x="4689478" y="1828801"/>
            <a:ext cx="3857623" cy="4648201"/>
          </a:xfrm>
          <a:prstGeom prst="rect">
            <a:avLst/>
          </a:prstGeom>
        </p:spPr>
        <p:txBody>
          <a:bodyPr lIns="0" tIns="0" rIns="0" bIns="0">
            <a:noAutofit/>
          </a:bodyPr>
          <a:lstStyle>
            <a:lvl1pPr>
              <a:defRPr sz="1600" b="0">
                <a:latin typeface="+mn-lt"/>
              </a:defRPr>
            </a:lvl1pPr>
            <a:lvl2pPr>
              <a:defRPr sz="1600" b="0">
                <a:latin typeface="+mn-lt"/>
              </a:defRPr>
            </a:lvl2pPr>
            <a:lvl3pPr marL="715963" indent="-357188">
              <a:buFont typeface="Segoe UI" panose="020B0502040204020203" pitchFamily="34" charset="0"/>
              <a:buChar char="̵"/>
              <a:defRPr sz="1600" b="0">
                <a:latin typeface="+mn-lt"/>
              </a:defRPr>
            </a:lvl3pPr>
            <a:lvl4pPr>
              <a:defRPr sz="1600" b="0">
                <a:latin typeface="+mn-lt"/>
              </a:defRPr>
            </a:lvl4pPr>
            <a:lvl5pPr marL="1431925" indent="-357188">
              <a:buFont typeface="Segoe UI" panose="020B0502040204020203" pitchFamily="34" charset="0"/>
              <a:buChar char="̵"/>
              <a:defRPr sz="1600"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noAutofit/>
          </a:bodyPr>
          <a:lstStyle/>
          <a:p>
            <a:r>
              <a:rPr lang="en-US"/>
              <a:t>Click to edit Master title style</a:t>
            </a:r>
          </a:p>
        </p:txBody>
      </p:sp>
      <p:sp>
        <p:nvSpPr>
          <p:cNvPr id="3" name="Footer Placeholder 2"/>
          <p:cNvSpPr>
            <a:spLocks noGrp="1"/>
          </p:cNvSpPr>
          <p:nvPr>
            <p:ph type="ftr" sz="quarter" idx="13"/>
          </p:nvPr>
        </p:nvSpPr>
        <p:spPr/>
        <p:txBody>
          <a:bodyPr/>
          <a:lstStyle/>
          <a:p>
            <a:r>
              <a:rPr lang="en-US"/>
              <a:t>Timesaver Template</a:t>
            </a:r>
          </a:p>
        </p:txBody>
      </p:sp>
      <p:sp>
        <p:nvSpPr>
          <p:cNvPr id="4" name="Slide Number Placeholder 3"/>
          <p:cNvSpPr>
            <a:spLocks noGrp="1"/>
          </p:cNvSpPr>
          <p:nvPr>
            <p:ph type="sldNum" sz="quarter" idx="14"/>
          </p:nvPr>
        </p:nvSpPr>
        <p:spPr/>
        <p:txBody>
          <a:bodyPr/>
          <a:lstStyle/>
          <a:p>
            <a:fld id="{92D0FD2A-77A2-4D72-8810-21B59CAC11F0}" type="slidenum">
              <a:rPr lang="en-US" smtClean="0"/>
              <a:pPr/>
              <a:t>‹#›</a:t>
            </a:fld>
            <a:endParaRPr lang="en-US"/>
          </a:p>
        </p:txBody>
      </p:sp>
    </p:spTree>
    <p:extLst>
      <p:ext uri="{BB962C8B-B14F-4D97-AF65-F5344CB8AC3E}">
        <p14:creationId xmlns:p14="http://schemas.microsoft.com/office/powerpoint/2010/main" val="3301533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White divider with image">
    <p:bg>
      <p:bgPr>
        <a:solidFill>
          <a:schemeClr val="bg1"/>
        </a:solidFill>
        <a:effectLst/>
      </p:bgPr>
    </p:bg>
    <p:spTree>
      <p:nvGrpSpPr>
        <p:cNvPr id="1" name=""/>
        <p:cNvGrpSpPr/>
        <p:nvPr/>
      </p:nvGrpSpPr>
      <p:grpSpPr>
        <a:xfrm>
          <a:off x="0" y="0"/>
          <a:ext cx="0" cy="0"/>
          <a:chOff x="0" y="0"/>
          <a:chExt cx="0" cy="0"/>
        </a:xfrm>
      </p:grpSpPr>
      <p:sp>
        <p:nvSpPr>
          <p:cNvPr id="5" name="Parallelogram 4"/>
          <p:cNvSpPr/>
          <p:nvPr userDrawn="1"/>
        </p:nvSpPr>
        <p:spPr>
          <a:xfrm>
            <a:off x="4927601" y="1364891"/>
            <a:ext cx="720000" cy="60959"/>
          </a:xfrm>
          <a:prstGeom prst="parallelogram">
            <a:avLst>
              <a:gd name="adj" fmla="val 3799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sp>
        <p:nvSpPr>
          <p:cNvPr id="3" name="Text Placeholder 2"/>
          <p:cNvSpPr>
            <a:spLocks noGrp="1"/>
          </p:cNvSpPr>
          <p:nvPr>
            <p:ph type="body" sz="quarter" idx="11"/>
          </p:nvPr>
        </p:nvSpPr>
        <p:spPr>
          <a:xfrm>
            <a:off x="4927601" y="2600325"/>
            <a:ext cx="3759199" cy="2524126"/>
          </a:xfrm>
        </p:spPr>
        <p:txBody>
          <a:bodyPr/>
          <a:lstStyle>
            <a:lvl1pPr>
              <a:defRPr sz="3600">
                <a:solidFill>
                  <a:schemeClr val="tx1"/>
                </a:solidFill>
                <a:latin typeface="Segoe UI Light" panose="020B0502040204020203" pitchFamily="34" charset="0"/>
              </a:defRPr>
            </a:lvl1pPr>
            <a:lvl2pPr>
              <a:defRPr sz="3600">
                <a:latin typeface="Segoe UI Light" panose="020B0502040204020203" pitchFamily="34" charset="0"/>
              </a:defRPr>
            </a:lvl2pPr>
            <a:lvl3pPr>
              <a:defRPr sz="3600">
                <a:latin typeface="Segoe UI Light" panose="020B0502040204020203" pitchFamily="34" charset="0"/>
              </a:defRPr>
            </a:lvl3pPr>
            <a:lvl4pPr>
              <a:defRPr sz="3600">
                <a:latin typeface="Segoe UI Light" panose="020B0502040204020203" pitchFamily="34" charset="0"/>
              </a:defRPr>
            </a:lvl4pPr>
            <a:lvl5pPr>
              <a:defRPr sz="3600">
                <a:latin typeface="Segoe UI Light" panose="020B0502040204020203" pitchFamily="34" charset="0"/>
              </a:defRPr>
            </a:lvl5pPr>
          </a:lstStyle>
          <a:p>
            <a:pPr lvl="0"/>
            <a:r>
              <a:rPr lang="en-US" dirty="0"/>
              <a:t>Click to edit Master text styles</a:t>
            </a:r>
          </a:p>
        </p:txBody>
      </p:sp>
      <p:sp>
        <p:nvSpPr>
          <p:cNvPr id="6" name="Picture Placeholder 5"/>
          <p:cNvSpPr>
            <a:spLocks noGrp="1"/>
          </p:cNvSpPr>
          <p:nvPr>
            <p:ph type="pic" sz="quarter" idx="12"/>
          </p:nvPr>
        </p:nvSpPr>
        <p:spPr>
          <a:xfrm>
            <a:off x="-73025" y="-57151"/>
            <a:ext cx="5575300" cy="6988317"/>
          </a:xfrm>
          <a:custGeom>
            <a:avLst/>
            <a:gdLst>
              <a:gd name="connsiteX0" fmla="*/ 0 w 3441700"/>
              <a:gd name="connsiteY0" fmla="*/ 0 h 6940692"/>
              <a:gd name="connsiteX1" fmla="*/ 3441700 w 3441700"/>
              <a:gd name="connsiteY1" fmla="*/ 0 h 6940692"/>
              <a:gd name="connsiteX2" fmla="*/ 3441700 w 3441700"/>
              <a:gd name="connsiteY2" fmla="*/ 6940692 h 6940692"/>
              <a:gd name="connsiteX3" fmla="*/ 0 w 3441700"/>
              <a:gd name="connsiteY3" fmla="*/ 6940692 h 6940692"/>
              <a:gd name="connsiteX4" fmla="*/ 0 w 3441700"/>
              <a:gd name="connsiteY4" fmla="*/ 0 h 6940692"/>
              <a:gd name="connsiteX0" fmla="*/ 0 w 3441700"/>
              <a:gd name="connsiteY0" fmla="*/ 6349 h 6947041"/>
              <a:gd name="connsiteX1" fmla="*/ 831850 w 3441700"/>
              <a:gd name="connsiteY1" fmla="*/ 0 h 6947041"/>
              <a:gd name="connsiteX2" fmla="*/ 3441700 w 3441700"/>
              <a:gd name="connsiteY2" fmla="*/ 6349 h 6947041"/>
              <a:gd name="connsiteX3" fmla="*/ 3441700 w 3441700"/>
              <a:gd name="connsiteY3" fmla="*/ 6947041 h 6947041"/>
              <a:gd name="connsiteX4" fmla="*/ 0 w 3441700"/>
              <a:gd name="connsiteY4" fmla="*/ 6947041 h 6947041"/>
              <a:gd name="connsiteX5" fmla="*/ 0 w 3441700"/>
              <a:gd name="connsiteY5" fmla="*/ 6349 h 6947041"/>
              <a:gd name="connsiteX0" fmla="*/ 0 w 3441700"/>
              <a:gd name="connsiteY0" fmla="*/ 6349 h 6947041"/>
              <a:gd name="connsiteX1" fmla="*/ 831850 w 3441700"/>
              <a:gd name="connsiteY1" fmla="*/ 0 h 6947041"/>
              <a:gd name="connsiteX2" fmla="*/ 3441700 w 3441700"/>
              <a:gd name="connsiteY2" fmla="*/ 6947041 h 6947041"/>
              <a:gd name="connsiteX3" fmla="*/ 0 w 3441700"/>
              <a:gd name="connsiteY3" fmla="*/ 6947041 h 6947041"/>
              <a:gd name="connsiteX4" fmla="*/ 0 w 3441700"/>
              <a:gd name="connsiteY4" fmla="*/ 6349 h 6947041"/>
              <a:gd name="connsiteX0" fmla="*/ 0 w 3441700"/>
              <a:gd name="connsiteY0" fmla="*/ 6349 h 6947041"/>
              <a:gd name="connsiteX1" fmla="*/ 806450 w 3441700"/>
              <a:gd name="connsiteY1" fmla="*/ 0 h 6947041"/>
              <a:gd name="connsiteX2" fmla="*/ 3441700 w 3441700"/>
              <a:gd name="connsiteY2" fmla="*/ 6947041 h 6947041"/>
              <a:gd name="connsiteX3" fmla="*/ 0 w 3441700"/>
              <a:gd name="connsiteY3" fmla="*/ 6947041 h 6947041"/>
              <a:gd name="connsiteX4" fmla="*/ 0 w 3441700"/>
              <a:gd name="connsiteY4" fmla="*/ 6349 h 6947041"/>
              <a:gd name="connsiteX0" fmla="*/ 0 w 3441700"/>
              <a:gd name="connsiteY0" fmla="*/ 0 h 6940692"/>
              <a:gd name="connsiteX1" fmla="*/ 819150 w 3441700"/>
              <a:gd name="connsiteY1" fmla="*/ 1 h 6940692"/>
              <a:gd name="connsiteX2" fmla="*/ 3441700 w 3441700"/>
              <a:gd name="connsiteY2" fmla="*/ 6940692 h 6940692"/>
              <a:gd name="connsiteX3" fmla="*/ 0 w 3441700"/>
              <a:gd name="connsiteY3" fmla="*/ 6940692 h 6940692"/>
              <a:gd name="connsiteX4" fmla="*/ 0 w 3441700"/>
              <a:gd name="connsiteY4" fmla="*/ 0 h 6940692"/>
              <a:gd name="connsiteX0" fmla="*/ 0 w 5575300"/>
              <a:gd name="connsiteY0" fmla="*/ 0 h 6959742"/>
              <a:gd name="connsiteX1" fmla="*/ 2952750 w 5575300"/>
              <a:gd name="connsiteY1" fmla="*/ 19051 h 6959742"/>
              <a:gd name="connsiteX2" fmla="*/ 5575300 w 5575300"/>
              <a:gd name="connsiteY2" fmla="*/ 6959742 h 6959742"/>
              <a:gd name="connsiteX3" fmla="*/ 2133600 w 5575300"/>
              <a:gd name="connsiteY3" fmla="*/ 6959742 h 6959742"/>
              <a:gd name="connsiteX4" fmla="*/ 0 w 5575300"/>
              <a:gd name="connsiteY4" fmla="*/ 0 h 6959742"/>
              <a:gd name="connsiteX0" fmla="*/ 0 w 5575300"/>
              <a:gd name="connsiteY0" fmla="*/ 0 h 6988317"/>
              <a:gd name="connsiteX1" fmla="*/ 2952750 w 5575300"/>
              <a:gd name="connsiteY1" fmla="*/ 19051 h 6988317"/>
              <a:gd name="connsiteX2" fmla="*/ 5575300 w 5575300"/>
              <a:gd name="connsiteY2" fmla="*/ 6959742 h 6988317"/>
              <a:gd name="connsiteX3" fmla="*/ 0 w 5575300"/>
              <a:gd name="connsiteY3" fmla="*/ 6988317 h 6988317"/>
              <a:gd name="connsiteX4" fmla="*/ 0 w 5575300"/>
              <a:gd name="connsiteY4" fmla="*/ 0 h 6988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5300" h="6988317">
                <a:moveTo>
                  <a:pt x="0" y="0"/>
                </a:moveTo>
                <a:lnTo>
                  <a:pt x="2952750" y="19051"/>
                </a:lnTo>
                <a:lnTo>
                  <a:pt x="5575300" y="6959742"/>
                </a:lnTo>
                <a:lnTo>
                  <a:pt x="0" y="6988317"/>
                </a:lnTo>
                <a:lnTo>
                  <a:pt x="0" y="0"/>
                </a:lnTo>
                <a:close/>
              </a:path>
            </a:pathLst>
          </a:custGeom>
          <a:solidFill>
            <a:schemeClr val="bg1">
              <a:lumMod val="65000"/>
            </a:schemeClr>
          </a:solidFill>
        </p:spPr>
        <p:txBody>
          <a:bodyPr lIns="216000" tIns="3060000"/>
          <a:lstStyle>
            <a:lvl1pPr algn="ctr">
              <a:defRPr sz="1400" b="1">
                <a:solidFill>
                  <a:schemeClr val="bg1"/>
                </a:solidFill>
              </a:defRPr>
            </a:lvl1pPr>
          </a:lstStyle>
          <a:p>
            <a:endParaRPr lang="en-US"/>
          </a:p>
        </p:txBody>
      </p:sp>
    </p:spTree>
    <p:extLst>
      <p:ext uri="{BB962C8B-B14F-4D97-AF65-F5344CB8AC3E}">
        <p14:creationId xmlns:p14="http://schemas.microsoft.com/office/powerpoint/2010/main" val="3753822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White disclaimer">
    <p:spTree>
      <p:nvGrpSpPr>
        <p:cNvPr id="1" name=""/>
        <p:cNvGrpSpPr/>
        <p:nvPr/>
      </p:nvGrpSpPr>
      <p:grpSpPr>
        <a:xfrm>
          <a:off x="0" y="0"/>
          <a:ext cx="0" cy="0"/>
          <a:chOff x="0" y="0"/>
          <a:chExt cx="0" cy="0"/>
        </a:xfrm>
      </p:grpSpPr>
      <p:sp>
        <p:nvSpPr>
          <p:cNvPr id="4" name="Rectangle 3"/>
          <p:cNvSpPr/>
          <p:nvPr userDrawn="1"/>
        </p:nvSpPr>
        <p:spPr>
          <a:xfrm>
            <a:off x="608013" y="3926361"/>
            <a:ext cx="7956550" cy="1569660"/>
          </a:xfrm>
          <a:prstGeom prst="rect">
            <a:avLst/>
          </a:prstGeom>
        </p:spPr>
        <p:txBody>
          <a:bodyPr wrap="square" lIns="0" tIns="0" rIns="0" bIns="0">
            <a:spAutoFit/>
          </a:bodyPr>
          <a:lstStyle/>
          <a:p>
            <a:pPr>
              <a:spcAft>
                <a:spcPts val="600"/>
              </a:spcAft>
            </a:pPr>
            <a:r>
              <a:rPr lang="en-AU" sz="700" b="1" dirty="0">
                <a:solidFill>
                  <a:srgbClr val="A38F68"/>
                </a:solidFill>
                <a:cs typeface="Segoe UI"/>
              </a:rPr>
              <a:t>DISCLAIMER</a:t>
            </a:r>
          </a:p>
          <a:p>
            <a:pPr>
              <a:spcAft>
                <a:spcPts val="600"/>
              </a:spcAft>
            </a:pPr>
            <a:r>
              <a:rPr lang="en-AU" sz="700" dirty="0">
                <a:solidFill>
                  <a:srgbClr val="000000"/>
                </a:solidFill>
                <a:cs typeface="Segoe UI"/>
              </a:rPr>
              <a:t>This presentation has been prepared by a representative of Advisian.</a:t>
            </a:r>
          </a:p>
          <a:p>
            <a:pPr>
              <a:spcAft>
                <a:spcPts val="600"/>
              </a:spcAft>
            </a:pPr>
            <a:r>
              <a:rPr lang="en-AU" sz="700" dirty="0">
                <a:solidFill>
                  <a:srgbClr val="000000"/>
                </a:solidFill>
                <a:cs typeface="Segoe UI"/>
              </a:rPr>
              <a:t>The presentation contains the professional and personal opinions of the presenter, which are given in good faith.  As such, opinions presented herein may not always necessarily reflect the position of </a:t>
            </a:r>
            <a:r>
              <a:rPr lang="en-AU" sz="700" dirty="0">
                <a:solidFill>
                  <a:srgbClr val="000000"/>
                </a:solidFill>
                <a:cs typeface="+mn-cs"/>
              </a:rPr>
              <a:t>Advisian </a:t>
            </a:r>
            <a:r>
              <a:rPr lang="en-AU" sz="700" dirty="0">
                <a:solidFill>
                  <a:srgbClr val="000000"/>
                </a:solidFill>
                <a:cs typeface="Segoe UI"/>
              </a:rPr>
              <a:t>as a whole, its officers or executive.</a:t>
            </a:r>
          </a:p>
          <a:p>
            <a:pPr>
              <a:spcAft>
                <a:spcPts val="600"/>
              </a:spcAft>
            </a:pPr>
            <a:r>
              <a:rPr lang="en-AU" sz="700" dirty="0">
                <a:solidFill>
                  <a:srgbClr val="000000"/>
                </a:solidFill>
                <a:cs typeface="Segoe UI"/>
              </a:rPr>
              <a:t>Any forward-looking statements included in this presentation will involve subjective judgment and analysis and are subject to uncertainties, risks and contingencies—many of which are outside the control of, and may be unknown to, </a:t>
            </a:r>
            <a:r>
              <a:rPr lang="en-AU" sz="700" dirty="0">
                <a:solidFill>
                  <a:srgbClr val="000000"/>
                </a:solidFill>
                <a:cs typeface="+mn-cs"/>
              </a:rPr>
              <a:t>Advisian.  </a:t>
            </a:r>
            <a:endParaRPr lang="en-AU" sz="700" dirty="0">
              <a:solidFill>
                <a:srgbClr val="000000"/>
              </a:solidFill>
              <a:cs typeface="Segoe UI"/>
            </a:endParaRPr>
          </a:p>
          <a:p>
            <a:pPr>
              <a:spcAft>
                <a:spcPts val="600"/>
              </a:spcAft>
            </a:pPr>
            <a:r>
              <a:rPr lang="en-AU" sz="700" dirty="0">
                <a:solidFill>
                  <a:srgbClr val="000000"/>
                </a:solidFill>
                <a:cs typeface="+mn-cs"/>
              </a:rPr>
              <a:t>Advisian </a:t>
            </a:r>
            <a:r>
              <a:rPr lang="en-AU" sz="700" dirty="0">
                <a:solidFill>
                  <a:srgbClr val="000000"/>
                </a:solidFill>
                <a:cs typeface="Segoe UI"/>
              </a:rPr>
              <a:t>and all associated entities and representatives make no representation or warranty as to the accuracy, reliability or completeness of information in this document and do not take responsibility for updating any information or correcting any error or omission that may become apparent after this document has been issued.</a:t>
            </a:r>
          </a:p>
          <a:p>
            <a:pPr>
              <a:spcAft>
                <a:spcPts val="600"/>
              </a:spcAft>
            </a:pPr>
            <a:r>
              <a:rPr lang="en-AU" sz="700" dirty="0">
                <a:solidFill>
                  <a:srgbClr val="000000"/>
                </a:solidFill>
                <a:cs typeface="Segoe UI"/>
              </a:rPr>
              <a:t>To the extent permitted by law, </a:t>
            </a:r>
            <a:r>
              <a:rPr lang="en-AU" sz="700" dirty="0">
                <a:solidFill>
                  <a:srgbClr val="000000"/>
                </a:solidFill>
                <a:cs typeface="+mn-cs"/>
              </a:rPr>
              <a:t>Advisian </a:t>
            </a:r>
            <a:r>
              <a:rPr lang="en-AU" sz="700" dirty="0">
                <a:solidFill>
                  <a:srgbClr val="000000"/>
                </a:solidFill>
                <a:cs typeface="Segoe UI"/>
              </a:rPr>
              <a:t>and its officers, employees, related bodies and agents disclaim all liability—direct, indirect or consequential (and whether or not arising out of the negligence, default or lack of care of </a:t>
            </a:r>
            <a:r>
              <a:rPr lang="en-AU" sz="700" dirty="0">
                <a:solidFill>
                  <a:srgbClr val="000000"/>
                </a:solidFill>
                <a:cs typeface="+mn-cs"/>
              </a:rPr>
              <a:t>Advisian </a:t>
            </a:r>
            <a:r>
              <a:rPr lang="en-AU" sz="700" dirty="0">
                <a:solidFill>
                  <a:srgbClr val="000000"/>
                </a:solidFill>
                <a:cs typeface="Segoe UI"/>
              </a:rPr>
              <a:t>and/or any of its agents)—for any loss or damage suffered by a recipient or other persons arising out of, or in connection with, any use or reliance on this presentation or information.</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5525" y="792432"/>
            <a:ext cx="1367269" cy="471420"/>
          </a:xfrm>
          <a:prstGeom prst="rect">
            <a:avLst/>
          </a:prstGeom>
          <a:noFill/>
          <a:ln>
            <a:noFill/>
          </a:ln>
        </p:spPr>
      </p:pic>
    </p:spTree>
    <p:extLst>
      <p:ext uri="{BB962C8B-B14F-4D97-AF65-F5344CB8AC3E}">
        <p14:creationId xmlns:p14="http://schemas.microsoft.com/office/powerpoint/2010/main" val="3038871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 White back pag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87580" y="2942242"/>
            <a:ext cx="2968840" cy="973516"/>
          </a:xfrm>
          <a:prstGeom prst="rect">
            <a:avLst/>
          </a:prstGeom>
          <a:noFill/>
          <a:ln>
            <a:noFill/>
          </a:ln>
        </p:spPr>
      </p:pic>
    </p:spTree>
    <p:extLst>
      <p:ext uri="{BB962C8B-B14F-4D97-AF65-F5344CB8AC3E}">
        <p14:creationId xmlns:p14="http://schemas.microsoft.com/office/powerpoint/2010/main" val="3146559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lank Page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2749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Advisian Cover white">
    <p:spTree>
      <p:nvGrpSpPr>
        <p:cNvPr id="1" name=""/>
        <p:cNvGrpSpPr/>
        <p:nvPr/>
      </p:nvGrpSpPr>
      <p:grpSpPr>
        <a:xfrm>
          <a:off x="0" y="0"/>
          <a:ext cx="0" cy="0"/>
          <a:chOff x="0" y="0"/>
          <a:chExt cx="0" cy="0"/>
        </a:xfrm>
      </p:grpSpPr>
      <p:sp>
        <p:nvSpPr>
          <p:cNvPr id="10" name="Freeform 9"/>
          <p:cNvSpPr/>
          <p:nvPr userDrawn="1"/>
        </p:nvSpPr>
        <p:spPr>
          <a:xfrm>
            <a:off x="4107180" y="-22860"/>
            <a:ext cx="5059680" cy="5509260"/>
          </a:xfrm>
          <a:custGeom>
            <a:avLst/>
            <a:gdLst>
              <a:gd name="connsiteX0" fmla="*/ 0 w 5059680"/>
              <a:gd name="connsiteY0" fmla="*/ 7620 h 5509260"/>
              <a:gd name="connsiteX1" fmla="*/ 2095500 w 5059680"/>
              <a:gd name="connsiteY1" fmla="*/ 5509260 h 5509260"/>
              <a:gd name="connsiteX2" fmla="*/ 5059680 w 5059680"/>
              <a:gd name="connsiteY2" fmla="*/ 5509260 h 5509260"/>
              <a:gd name="connsiteX3" fmla="*/ 5059680 w 5059680"/>
              <a:gd name="connsiteY3" fmla="*/ 0 h 5509260"/>
              <a:gd name="connsiteX4" fmla="*/ 0 w 5059680"/>
              <a:gd name="connsiteY4" fmla="*/ 7620 h 5509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9680" h="5509260">
                <a:moveTo>
                  <a:pt x="0" y="7620"/>
                </a:moveTo>
                <a:lnTo>
                  <a:pt x="2095500" y="5509260"/>
                </a:lnTo>
                <a:lnTo>
                  <a:pt x="5059680" y="5509260"/>
                </a:lnTo>
                <a:lnTo>
                  <a:pt x="5059680" y="0"/>
                </a:lnTo>
                <a:lnTo>
                  <a:pt x="0" y="762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sp>
        <p:nvSpPr>
          <p:cNvPr id="13" name="Parallelogram 10"/>
          <p:cNvSpPr/>
          <p:nvPr userDrawn="1"/>
        </p:nvSpPr>
        <p:spPr>
          <a:xfrm>
            <a:off x="0" y="690992"/>
            <a:ext cx="7595296" cy="6167008"/>
          </a:xfrm>
          <a:custGeom>
            <a:avLst/>
            <a:gdLst/>
            <a:ahLst/>
            <a:cxnLst/>
            <a:rect l="l" t="t" r="r" b="b"/>
            <a:pathLst>
              <a:path w="7595296" h="6167008">
                <a:moveTo>
                  <a:pt x="979814" y="0"/>
                </a:moveTo>
                <a:lnTo>
                  <a:pt x="7595296" y="0"/>
                </a:lnTo>
                <a:lnTo>
                  <a:pt x="4949095" y="6167008"/>
                </a:lnTo>
                <a:lnTo>
                  <a:pt x="4805101" y="6167008"/>
                </a:lnTo>
                <a:lnTo>
                  <a:pt x="7389158" y="144828"/>
                </a:lnTo>
                <a:lnTo>
                  <a:pt x="1086113" y="144828"/>
                </a:lnTo>
                <a:lnTo>
                  <a:pt x="0" y="2676029"/>
                </a:lnTo>
                <a:lnTo>
                  <a:pt x="0" y="2283470"/>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pic>
        <p:nvPicPr>
          <p:cNvPr id="18"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12944" y="5832645"/>
            <a:ext cx="1800200" cy="620691"/>
          </a:xfrm>
          <a:prstGeom prst="rect">
            <a:avLst/>
          </a:prstGeom>
        </p:spPr>
      </p:pic>
      <p:sp>
        <p:nvSpPr>
          <p:cNvPr id="20" name="Date Placeholder 3"/>
          <p:cNvSpPr txBox="1">
            <a:spLocks/>
          </p:cNvSpPr>
          <p:nvPr userDrawn="1"/>
        </p:nvSpPr>
        <p:spPr>
          <a:xfrm>
            <a:off x="827088" y="6276596"/>
            <a:ext cx="1269504" cy="216024"/>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1000" dirty="0">
                <a:solidFill>
                  <a:srgbClr val="000000"/>
                </a:solidFill>
                <a:ea typeface="Segoe UI" panose="020B0502040204020203" pitchFamily="34" charset="0"/>
                <a:cs typeface="Segoe UI" panose="020B0502040204020203" pitchFamily="34" charset="0"/>
              </a:rPr>
              <a:t>www.</a:t>
            </a:r>
            <a:r>
              <a:rPr lang="en-AU" sz="1000" b="1" dirty="0">
                <a:solidFill>
                  <a:srgbClr val="000000"/>
                </a:solidFill>
                <a:ea typeface="Segoe UI" panose="020B0502040204020203" pitchFamily="34" charset="0"/>
                <a:cs typeface="Segoe UI" panose="020B0502040204020203" pitchFamily="34" charset="0"/>
              </a:rPr>
              <a:t>advisian</a:t>
            </a:r>
            <a:r>
              <a:rPr lang="en-AU" sz="1000" dirty="0">
                <a:solidFill>
                  <a:srgbClr val="000000"/>
                </a:solidFill>
                <a:ea typeface="Segoe UI" panose="020B0502040204020203" pitchFamily="34" charset="0"/>
                <a:cs typeface="Segoe UI" panose="020B0502040204020203" pitchFamily="34" charset="0"/>
              </a:rPr>
              <a:t>.com</a:t>
            </a:r>
          </a:p>
        </p:txBody>
      </p:sp>
      <p:sp>
        <p:nvSpPr>
          <p:cNvPr id="3" name="Title 2"/>
          <p:cNvSpPr>
            <a:spLocks noGrp="1"/>
          </p:cNvSpPr>
          <p:nvPr>
            <p:ph type="title"/>
          </p:nvPr>
        </p:nvSpPr>
        <p:spPr>
          <a:xfrm>
            <a:off x="827088" y="2155283"/>
            <a:ext cx="3990477" cy="1492791"/>
          </a:xfrm>
        </p:spPr>
        <p:txBody>
          <a:bodyPr/>
          <a:lstStyle>
            <a:lvl1pPr rtl="0">
              <a:defRPr/>
            </a:lvl1pPr>
          </a:lstStyle>
          <a:p>
            <a:r>
              <a:rPr lang="en-US"/>
              <a:t>Click to edit Master title style</a:t>
            </a:r>
            <a:endParaRPr lang="en-AU" dirty="0"/>
          </a:p>
        </p:txBody>
      </p:sp>
      <p:sp>
        <p:nvSpPr>
          <p:cNvPr id="6" name="Text Placeholder 5"/>
          <p:cNvSpPr>
            <a:spLocks noGrp="1"/>
          </p:cNvSpPr>
          <p:nvPr>
            <p:ph type="body" sz="quarter" idx="10"/>
          </p:nvPr>
        </p:nvSpPr>
        <p:spPr>
          <a:xfrm>
            <a:off x="827088" y="3810000"/>
            <a:ext cx="4030662" cy="393700"/>
          </a:xfrm>
        </p:spPr>
        <p:txBody>
          <a:bodyPr>
            <a:noAutofit/>
          </a:bodyPr>
          <a:lstStyle>
            <a:lvl1pPr rtl="0">
              <a:spcAft>
                <a:spcPts val="0"/>
              </a:spcAft>
              <a:defRPr sz="1800"/>
            </a:lvl1pPr>
            <a:lvl2pPr>
              <a:defRPr sz="1800"/>
            </a:lvl2pPr>
            <a:lvl3pPr>
              <a:defRPr sz="1800"/>
            </a:lvl3pPr>
            <a:lvl4pPr>
              <a:defRPr sz="1800"/>
            </a:lvl4pPr>
            <a:lvl5pPr>
              <a:defRPr sz="1800"/>
            </a:lvl5pPr>
          </a:lstStyle>
          <a:p>
            <a:pPr lvl="0"/>
            <a:r>
              <a:rPr lang="en-US"/>
              <a:t>Click to edit Master text styles</a:t>
            </a:r>
          </a:p>
        </p:txBody>
      </p:sp>
      <p:sp>
        <p:nvSpPr>
          <p:cNvPr id="8" name="Text Placeholder 7"/>
          <p:cNvSpPr>
            <a:spLocks noGrp="1"/>
          </p:cNvSpPr>
          <p:nvPr>
            <p:ph type="body" sz="quarter" idx="11"/>
          </p:nvPr>
        </p:nvSpPr>
        <p:spPr>
          <a:xfrm>
            <a:off x="827088" y="4865737"/>
            <a:ext cx="4059237" cy="533400"/>
          </a:xfrm>
        </p:spPr>
        <p:txBody>
          <a:bodyPr>
            <a:noAutofit/>
          </a:bodyPr>
          <a:lstStyle>
            <a:lvl1pPr marL="0" indent="0" rtl="0">
              <a:spcAft>
                <a:spcPts val="0"/>
              </a:spcAft>
              <a:buFont typeface="Arial" panose="020B0604020202020204" pitchFamily="34" charset="0"/>
              <a:buNone/>
              <a:defRPr sz="1000"/>
            </a:lvl1pPr>
            <a:lvl2pPr marL="0" indent="0">
              <a:buNone/>
              <a:defRPr sz="1000"/>
            </a:lvl2pPr>
            <a:lvl3pPr marL="358775" indent="0">
              <a:buNone/>
              <a:defRPr sz="1000"/>
            </a:lvl3pPr>
            <a:lvl4pPr marL="715963" indent="0">
              <a:buNone/>
              <a:defRPr sz="1000"/>
            </a:lvl4pPr>
            <a:lvl5pPr marL="1074737" indent="0">
              <a:buNone/>
              <a:defRPr sz="1000"/>
            </a:lvl5pPr>
          </a:lstStyle>
          <a:p>
            <a:pPr lvl="0"/>
            <a:r>
              <a:rPr lang="en-US"/>
              <a:t>Click to edit Master text styles</a:t>
            </a:r>
          </a:p>
        </p:txBody>
      </p:sp>
    </p:spTree>
    <p:extLst>
      <p:ext uri="{BB962C8B-B14F-4D97-AF65-F5344CB8AC3E}">
        <p14:creationId xmlns:p14="http://schemas.microsoft.com/office/powerpoint/2010/main" val="850408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Advisian title and tex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788343" y="47625"/>
            <a:ext cx="8136904" cy="807306"/>
          </a:xfrm>
          <a:prstGeom prst="rect">
            <a:avLst/>
          </a:prstGeom>
        </p:spPr>
        <p:txBody>
          <a:bodyPr vert="horz" lIns="0" tIns="0" rIns="0" bIns="0" rtlCol="0" anchor="b" anchorCtr="0">
            <a:normAutofit/>
          </a:bodyPr>
          <a:lstStyle>
            <a:lvl1pPr rtl="0">
              <a:defRPr b="1">
                <a:solidFill>
                  <a:srgbClr val="162934"/>
                </a:soli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AU" dirty="0"/>
          </a:p>
        </p:txBody>
      </p:sp>
      <p:sp>
        <p:nvSpPr>
          <p:cNvPr id="3" name="Content Placeholder 2"/>
          <p:cNvSpPr>
            <a:spLocks noGrp="1"/>
          </p:cNvSpPr>
          <p:nvPr>
            <p:ph sz="quarter" idx="10"/>
          </p:nvPr>
        </p:nvSpPr>
        <p:spPr>
          <a:xfrm>
            <a:off x="800099" y="1341439"/>
            <a:ext cx="8031163" cy="4967882"/>
          </a:xfrm>
        </p:spPr>
        <p:txBody>
          <a:bodyPr>
            <a:normAutofit/>
          </a:bodyPr>
          <a:lstStyle>
            <a:lvl1pPr marL="0" indent="0" rtl="0">
              <a:spcAft>
                <a:spcPts val="600"/>
              </a:spcAft>
              <a:buNone/>
              <a:defRPr sz="2000">
                <a:latin typeface="Segoe UI" panose="020B0502040204020203" pitchFamily="34" charset="0"/>
                <a:ea typeface="Segoe UI" panose="020B0502040204020203" pitchFamily="34" charset="0"/>
                <a:cs typeface="Segoe UI" panose="020B0502040204020203" pitchFamily="34" charset="0"/>
              </a:defRPr>
            </a:lvl1pPr>
            <a:lvl2pPr marL="358775" indent="-358775" rtl="0">
              <a:spcAft>
                <a:spcPts val="600"/>
              </a:spcAft>
              <a:buClr>
                <a:schemeClr val="accent1"/>
              </a:buClr>
              <a:buFont typeface="Arial" panose="020B0604020202020204" pitchFamily="34" charset="0"/>
              <a:buChar char="•"/>
              <a:defRPr sz="2000">
                <a:latin typeface="Segoe UI" panose="020B0502040204020203" pitchFamily="34" charset="0"/>
                <a:ea typeface="Segoe UI" panose="020B0502040204020203" pitchFamily="34" charset="0"/>
                <a:cs typeface="Segoe UI" panose="020B0502040204020203" pitchFamily="34" charset="0"/>
              </a:defRPr>
            </a:lvl2pPr>
            <a:lvl3pPr marL="715963" indent="-357188" rtl="0">
              <a:spcAft>
                <a:spcPts val="600"/>
              </a:spcAft>
              <a:buClr>
                <a:schemeClr val="accent1"/>
              </a:buClr>
              <a:buFont typeface="Arial" panose="020B0604020202020204" pitchFamily="34" charset="0"/>
              <a:buChar char="-"/>
              <a:defRPr sz="2000">
                <a:latin typeface="Segoe UI" panose="020B0502040204020203" pitchFamily="34" charset="0"/>
                <a:ea typeface="Segoe UI" panose="020B0502040204020203" pitchFamily="34" charset="0"/>
                <a:cs typeface="Segoe UI" panose="020B0502040204020203" pitchFamily="34" charset="0"/>
              </a:defRPr>
            </a:lvl3pPr>
            <a:lvl4pPr marL="1058863" indent="-342900" rtl="0">
              <a:spcAft>
                <a:spcPts val="600"/>
              </a:spcAft>
              <a:buClr>
                <a:schemeClr val="accent1"/>
              </a:buClr>
              <a:buSzPct val="90000"/>
              <a:buFont typeface="Arial" panose="020B0604020202020204" pitchFamily="34" charset="0"/>
              <a:buChar char="•"/>
              <a:defRPr sz="2000">
                <a:latin typeface="Segoe UI" panose="020B0502040204020203" pitchFamily="34" charset="0"/>
                <a:ea typeface="Segoe UI" panose="020B0502040204020203" pitchFamily="34" charset="0"/>
                <a:cs typeface="Segoe UI" panose="020B0502040204020203" pitchFamily="34" charset="0"/>
              </a:defRPr>
            </a:lvl4pPr>
            <a:lvl5pPr marL="1431925" indent="-357188">
              <a:spcAft>
                <a:spcPts val="2400"/>
              </a:spcAft>
              <a:buFont typeface="Arial" panose="020B0604020202020204" pitchFamily="34" charset="0"/>
              <a:buChar char="•"/>
              <a:defRPr sz="2000">
                <a:latin typeface="Franklin Gothic Book" panose="020B05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Slide Number Placeholder 1"/>
          <p:cNvSpPr>
            <a:spLocks noGrp="1"/>
          </p:cNvSpPr>
          <p:nvPr>
            <p:ph type="sldNum" sz="quarter" idx="11"/>
          </p:nvPr>
        </p:nvSpPr>
        <p:spPr>
          <a:xfrm>
            <a:off x="7308304" y="6525344"/>
            <a:ext cx="1512168" cy="196131"/>
          </a:xfrm>
          <a:prstGeom prst="rect">
            <a:avLst/>
          </a:prstGeom>
        </p:spPr>
        <p:txBody>
          <a:bodyPr/>
          <a:lstStyle>
            <a:lvl1pPr rtl="0">
              <a:defRPr>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defRPr>
            </a:lvl1pPr>
          </a:lstStyle>
          <a:p>
            <a:r>
              <a:rPr lang="en-AU">
                <a:solidFill>
                  <a:prstClr val="white">
                    <a:lumMod val="50000"/>
                  </a:prstClr>
                </a:solidFill>
              </a:rPr>
              <a:t> Advisian  / </a:t>
            </a:r>
            <a:fld id="{CFD780AD-5876-4BCA-80DC-E96648A7269F}" type="slidenum">
              <a:rPr lang="en-AU" smtClean="0">
                <a:solidFill>
                  <a:prstClr val="white">
                    <a:lumMod val="50000"/>
                  </a:prstClr>
                </a:solidFill>
              </a:rPr>
              <a:pPr/>
              <a:t>‹#›</a:t>
            </a:fld>
            <a:endParaRPr lang="en-AU" dirty="0">
              <a:solidFill>
                <a:prstClr val="white">
                  <a:lumMod val="50000"/>
                </a:prstClr>
              </a:solidFill>
            </a:endParaRPr>
          </a:p>
        </p:txBody>
      </p:sp>
      <p:sp>
        <p:nvSpPr>
          <p:cNvPr id="6" name="Freeform 5"/>
          <p:cNvSpPr/>
          <p:nvPr userDrawn="1"/>
        </p:nvSpPr>
        <p:spPr>
          <a:xfrm>
            <a:off x="-9420" y="89621"/>
            <a:ext cx="588169" cy="878681"/>
          </a:xfrm>
          <a:custGeom>
            <a:avLst/>
            <a:gdLst>
              <a:gd name="connsiteX0" fmla="*/ 0 w 588169"/>
              <a:gd name="connsiteY0" fmla="*/ 0 h 878681"/>
              <a:gd name="connsiteX1" fmla="*/ 261937 w 588169"/>
              <a:gd name="connsiteY1" fmla="*/ 0 h 878681"/>
              <a:gd name="connsiteX2" fmla="*/ 588169 w 588169"/>
              <a:gd name="connsiteY2" fmla="*/ 878681 h 878681"/>
              <a:gd name="connsiteX3" fmla="*/ 0 w 588169"/>
              <a:gd name="connsiteY3" fmla="*/ 878681 h 878681"/>
              <a:gd name="connsiteX4" fmla="*/ 0 w 588169"/>
              <a:gd name="connsiteY4" fmla="*/ 797719 h 878681"/>
              <a:gd name="connsiteX5" fmla="*/ 473869 w 588169"/>
              <a:gd name="connsiteY5" fmla="*/ 797719 h 878681"/>
              <a:gd name="connsiteX6" fmla="*/ 207169 w 588169"/>
              <a:gd name="connsiteY6" fmla="*/ 83344 h 878681"/>
              <a:gd name="connsiteX7" fmla="*/ 2381 w 588169"/>
              <a:gd name="connsiteY7" fmla="*/ 83344 h 878681"/>
              <a:gd name="connsiteX8" fmla="*/ 0 w 588169"/>
              <a:gd name="connsiteY8" fmla="*/ 0 h 8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169" h="878681">
                <a:moveTo>
                  <a:pt x="0" y="0"/>
                </a:moveTo>
                <a:lnTo>
                  <a:pt x="261937" y="0"/>
                </a:lnTo>
                <a:lnTo>
                  <a:pt x="588169" y="878681"/>
                </a:lnTo>
                <a:lnTo>
                  <a:pt x="0" y="878681"/>
                </a:lnTo>
                <a:lnTo>
                  <a:pt x="0" y="797719"/>
                </a:lnTo>
                <a:lnTo>
                  <a:pt x="473869" y="797719"/>
                </a:lnTo>
                <a:lnTo>
                  <a:pt x="207169" y="83344"/>
                </a:lnTo>
                <a:lnTo>
                  <a:pt x="2381" y="83344"/>
                </a:lnTo>
                <a:cubicBezTo>
                  <a:pt x="1587" y="55563"/>
                  <a:pt x="794" y="27781"/>
                  <a:pt x="0" y="0"/>
                </a:cubicBez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sp>
        <p:nvSpPr>
          <p:cNvPr id="8" name="Parallelogram 11"/>
          <p:cNvSpPr/>
          <p:nvPr userDrawn="1"/>
        </p:nvSpPr>
        <p:spPr>
          <a:xfrm>
            <a:off x="-9420" y="51845"/>
            <a:ext cx="725378" cy="704528"/>
          </a:xfrm>
          <a:custGeom>
            <a:avLst/>
            <a:gdLst/>
            <a:ahLst/>
            <a:cxnLst/>
            <a:rect l="l" t="t" r="r" b="b"/>
            <a:pathLst>
              <a:path w="725378" h="704528">
                <a:moveTo>
                  <a:pt x="0" y="0"/>
                </a:moveTo>
                <a:lnTo>
                  <a:pt x="725378" y="0"/>
                </a:lnTo>
                <a:lnTo>
                  <a:pt x="425341" y="704528"/>
                </a:lnTo>
                <a:lnTo>
                  <a:pt x="0" y="704528"/>
                </a:lnTo>
                <a:lnTo>
                  <a:pt x="0" y="683211"/>
                </a:lnTo>
                <a:lnTo>
                  <a:pt x="410955" y="683211"/>
                </a:lnTo>
                <a:lnTo>
                  <a:pt x="692835" y="21318"/>
                </a:lnTo>
                <a:lnTo>
                  <a:pt x="0" y="21318"/>
                </a:lnTo>
                <a:close/>
              </a:path>
            </a:pathLst>
          </a:cu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endParaRPr>
          </a:p>
        </p:txBody>
      </p:sp>
    </p:spTree>
    <p:extLst>
      <p:ext uri="{BB962C8B-B14F-4D97-AF65-F5344CB8AC3E}">
        <p14:creationId xmlns:p14="http://schemas.microsoft.com/office/powerpoint/2010/main" val="630615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 full page image with heading">
    <p:bg>
      <p:bgPr>
        <a:solidFill>
          <a:schemeClr val="tx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144000" cy="6858000"/>
          </a:xfrm>
          <a:solidFill>
            <a:schemeClr val="bg1">
              <a:lumMod val="65000"/>
            </a:schemeClr>
          </a:solidFill>
        </p:spPr>
        <p:txBody>
          <a:bodyPr lIns="0" tIns="3060000"/>
          <a:lstStyle>
            <a:lvl1pPr algn="ctr">
              <a:defRPr sz="1400" b="1">
                <a:solidFill>
                  <a:schemeClr val="bg1"/>
                </a:solidFill>
              </a:defRPr>
            </a:lvl1pPr>
          </a:lstStyle>
          <a:p>
            <a:endParaRPr lang="en-US"/>
          </a:p>
        </p:txBody>
      </p:sp>
      <p:sp>
        <p:nvSpPr>
          <p:cNvPr id="2" name="Title 1"/>
          <p:cNvSpPr>
            <a:spLocks noGrp="1"/>
          </p:cNvSpPr>
          <p:nvPr>
            <p:ph type="title"/>
          </p:nvPr>
        </p:nvSpPr>
        <p:spPr>
          <a:xfrm>
            <a:off x="-78210" y="-44450"/>
            <a:ext cx="4186660" cy="6997700"/>
          </a:xfrm>
          <a:custGeom>
            <a:avLst/>
            <a:gdLst>
              <a:gd name="connsiteX0" fmla="*/ 0 w 6496050"/>
              <a:gd name="connsiteY0" fmla="*/ 6991350 h 6991350"/>
              <a:gd name="connsiteX1" fmla="*/ 2557040 w 6496050"/>
              <a:gd name="connsiteY1" fmla="*/ 0 h 6991350"/>
              <a:gd name="connsiteX2" fmla="*/ 6496050 w 6496050"/>
              <a:gd name="connsiteY2" fmla="*/ 0 h 6991350"/>
              <a:gd name="connsiteX3" fmla="*/ 3939010 w 6496050"/>
              <a:gd name="connsiteY3" fmla="*/ 6991350 h 6991350"/>
              <a:gd name="connsiteX4" fmla="*/ 0 w 6496050"/>
              <a:gd name="connsiteY4" fmla="*/ 6991350 h 6991350"/>
              <a:gd name="connsiteX0" fmla="*/ 0 w 3975100"/>
              <a:gd name="connsiteY0" fmla="*/ 6997700 h 6997700"/>
              <a:gd name="connsiteX1" fmla="*/ 36090 w 3975100"/>
              <a:gd name="connsiteY1" fmla="*/ 0 h 6997700"/>
              <a:gd name="connsiteX2" fmla="*/ 3975100 w 3975100"/>
              <a:gd name="connsiteY2" fmla="*/ 0 h 6997700"/>
              <a:gd name="connsiteX3" fmla="*/ 1418060 w 3975100"/>
              <a:gd name="connsiteY3" fmla="*/ 6991350 h 6997700"/>
              <a:gd name="connsiteX4" fmla="*/ 0 w 3975100"/>
              <a:gd name="connsiteY4" fmla="*/ 6997700 h 6997700"/>
              <a:gd name="connsiteX0" fmla="*/ 211560 w 4186660"/>
              <a:gd name="connsiteY0" fmla="*/ 7004050 h 7004050"/>
              <a:gd name="connsiteX1" fmla="*/ 0 w 4186660"/>
              <a:gd name="connsiteY1" fmla="*/ 0 h 7004050"/>
              <a:gd name="connsiteX2" fmla="*/ 4186660 w 4186660"/>
              <a:gd name="connsiteY2" fmla="*/ 6350 h 7004050"/>
              <a:gd name="connsiteX3" fmla="*/ 1629620 w 4186660"/>
              <a:gd name="connsiteY3" fmla="*/ 6997700 h 7004050"/>
              <a:gd name="connsiteX4" fmla="*/ 211560 w 4186660"/>
              <a:gd name="connsiteY4" fmla="*/ 7004050 h 7004050"/>
              <a:gd name="connsiteX0" fmla="*/ 2010 w 4186660"/>
              <a:gd name="connsiteY0" fmla="*/ 6997700 h 6997700"/>
              <a:gd name="connsiteX1" fmla="*/ 0 w 4186660"/>
              <a:gd name="connsiteY1" fmla="*/ 0 h 6997700"/>
              <a:gd name="connsiteX2" fmla="*/ 4186660 w 4186660"/>
              <a:gd name="connsiteY2" fmla="*/ 6350 h 6997700"/>
              <a:gd name="connsiteX3" fmla="*/ 1629620 w 4186660"/>
              <a:gd name="connsiteY3" fmla="*/ 6997700 h 6997700"/>
              <a:gd name="connsiteX4" fmla="*/ 2010 w 4186660"/>
              <a:gd name="connsiteY4" fmla="*/ 6997700 h 699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6660" h="6997700">
                <a:moveTo>
                  <a:pt x="2010" y="6997700"/>
                </a:moveTo>
                <a:lnTo>
                  <a:pt x="0" y="0"/>
                </a:lnTo>
                <a:lnTo>
                  <a:pt x="4186660" y="6350"/>
                </a:lnTo>
                <a:lnTo>
                  <a:pt x="1629620" y="6997700"/>
                </a:lnTo>
                <a:lnTo>
                  <a:pt x="2010" y="6997700"/>
                </a:lnTo>
                <a:close/>
              </a:path>
            </a:pathLst>
          </a:custGeom>
          <a:gradFill>
            <a:gsLst>
              <a:gs pos="10000">
                <a:schemeClr val="tx1"/>
              </a:gs>
              <a:gs pos="85000">
                <a:schemeClr val="bg1">
                  <a:alpha val="0"/>
                </a:schemeClr>
              </a:gs>
            </a:gsLst>
            <a:lin ang="5400000" scaled="0"/>
          </a:gradFill>
        </p:spPr>
        <p:txBody>
          <a:bodyPr wrap="square" lIns="648000" tIns="828000" rIns="720000" bIns="0" anchor="t" anchorCtr="0">
            <a:noAutofit/>
          </a:bodyPr>
          <a:lstStyle>
            <a:lvl1pPr>
              <a:lnSpc>
                <a:spcPct val="100000"/>
              </a:lnSpc>
              <a:spcBef>
                <a:spcPts val="0"/>
              </a:spcBef>
              <a:defRPr sz="28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315011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 Full page image with heading">
    <p:bg>
      <p:bgPr>
        <a:solidFill>
          <a:schemeClr val="tx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144000" cy="6858000"/>
          </a:xfrm>
          <a:solidFill>
            <a:schemeClr val="bg1">
              <a:lumMod val="65000"/>
            </a:schemeClr>
          </a:solidFill>
        </p:spPr>
        <p:txBody>
          <a:bodyPr lIns="0" tIns="3060000"/>
          <a:lstStyle>
            <a:lvl1pPr algn="ctr">
              <a:defRPr sz="1400" b="1">
                <a:solidFill>
                  <a:schemeClr val="bg1"/>
                </a:solidFill>
              </a:defRPr>
            </a:lvl1pPr>
          </a:lstStyle>
          <a:p>
            <a:endParaRPr lang="en-US"/>
          </a:p>
        </p:txBody>
      </p:sp>
      <p:sp>
        <p:nvSpPr>
          <p:cNvPr id="2" name="Title 1"/>
          <p:cNvSpPr>
            <a:spLocks noGrp="1"/>
          </p:cNvSpPr>
          <p:nvPr>
            <p:ph type="title"/>
          </p:nvPr>
        </p:nvSpPr>
        <p:spPr>
          <a:xfrm>
            <a:off x="4876799" y="-57150"/>
            <a:ext cx="4359995" cy="7010400"/>
          </a:xfrm>
          <a:custGeom>
            <a:avLst/>
            <a:gdLst>
              <a:gd name="connsiteX0" fmla="*/ 0 w 7112000"/>
              <a:gd name="connsiteY0" fmla="*/ 6991350 h 6991350"/>
              <a:gd name="connsiteX1" fmla="*/ 2752005 w 7112000"/>
              <a:gd name="connsiteY1" fmla="*/ 0 h 6991350"/>
              <a:gd name="connsiteX2" fmla="*/ 7112000 w 7112000"/>
              <a:gd name="connsiteY2" fmla="*/ 0 h 6991350"/>
              <a:gd name="connsiteX3" fmla="*/ 4359995 w 7112000"/>
              <a:gd name="connsiteY3" fmla="*/ 6991350 h 6991350"/>
              <a:gd name="connsiteX4" fmla="*/ 0 w 7112000"/>
              <a:gd name="connsiteY4" fmla="*/ 6991350 h 6991350"/>
              <a:gd name="connsiteX0" fmla="*/ 0 w 4359995"/>
              <a:gd name="connsiteY0" fmla="*/ 7010400 h 7010400"/>
              <a:gd name="connsiteX1" fmla="*/ 2752005 w 4359995"/>
              <a:gd name="connsiteY1" fmla="*/ 19050 h 7010400"/>
              <a:gd name="connsiteX2" fmla="*/ 4349750 w 4359995"/>
              <a:gd name="connsiteY2" fmla="*/ 0 h 7010400"/>
              <a:gd name="connsiteX3" fmla="*/ 4359995 w 4359995"/>
              <a:gd name="connsiteY3" fmla="*/ 7010400 h 7010400"/>
              <a:gd name="connsiteX4" fmla="*/ 0 w 4359995"/>
              <a:gd name="connsiteY4" fmla="*/ 7010400 h 701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9995" h="7010400">
                <a:moveTo>
                  <a:pt x="0" y="7010400"/>
                </a:moveTo>
                <a:lnTo>
                  <a:pt x="2752005" y="19050"/>
                </a:lnTo>
                <a:lnTo>
                  <a:pt x="4349750" y="0"/>
                </a:lnTo>
                <a:lnTo>
                  <a:pt x="4359995" y="7010400"/>
                </a:lnTo>
                <a:lnTo>
                  <a:pt x="0" y="7010400"/>
                </a:lnTo>
                <a:close/>
              </a:path>
            </a:pathLst>
          </a:custGeom>
          <a:gradFill flip="none" rotWithShape="1">
            <a:gsLst>
              <a:gs pos="10000">
                <a:schemeClr val="tx1"/>
              </a:gs>
              <a:gs pos="85000">
                <a:schemeClr val="bg1">
                  <a:alpha val="0"/>
                </a:schemeClr>
              </a:gs>
            </a:gsLst>
            <a:lin ang="16200000" scaled="1"/>
            <a:tileRect/>
          </a:gradFill>
        </p:spPr>
        <p:txBody>
          <a:bodyPr wrap="square" lIns="1044000" tIns="0" rIns="720000" bIns="648000" anchor="b" anchorCtr="0">
            <a:noAutofit/>
          </a:bodyPr>
          <a:lstStyle>
            <a:lvl1pPr>
              <a:lnSpc>
                <a:spcPct val="100000"/>
              </a:lnSpc>
              <a:spcBef>
                <a:spcPts val="0"/>
              </a:spcBef>
              <a:defRPr sz="28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51925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3 Full page image with heading">
    <p:bg>
      <p:bgPr>
        <a:solidFill>
          <a:schemeClr val="tx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144000" cy="6858000"/>
          </a:xfrm>
          <a:solidFill>
            <a:schemeClr val="bg1">
              <a:lumMod val="65000"/>
            </a:schemeClr>
          </a:solidFill>
        </p:spPr>
        <p:txBody>
          <a:bodyPr lIns="0" tIns="3060000"/>
          <a:lstStyle>
            <a:lvl1pPr algn="ctr">
              <a:defRPr sz="1400" b="1">
                <a:solidFill>
                  <a:schemeClr val="bg1"/>
                </a:solidFill>
              </a:defRPr>
            </a:lvl1pPr>
          </a:lstStyle>
          <a:p>
            <a:endParaRPr lang="en-US"/>
          </a:p>
        </p:txBody>
      </p:sp>
      <p:sp>
        <p:nvSpPr>
          <p:cNvPr id="2" name="Title 1"/>
          <p:cNvSpPr>
            <a:spLocks noGrp="1"/>
          </p:cNvSpPr>
          <p:nvPr>
            <p:ph type="title"/>
          </p:nvPr>
        </p:nvSpPr>
        <p:spPr>
          <a:xfrm>
            <a:off x="-53340" y="-48260"/>
            <a:ext cx="9241790" cy="3096260"/>
          </a:xfrm>
          <a:prstGeom prst="rect">
            <a:avLst/>
          </a:prstGeom>
          <a:gradFill>
            <a:gsLst>
              <a:gs pos="8000">
                <a:schemeClr val="tx1">
                  <a:alpha val="80000"/>
                </a:schemeClr>
              </a:gs>
              <a:gs pos="85000">
                <a:schemeClr val="bg1">
                  <a:alpha val="0"/>
                </a:schemeClr>
              </a:gs>
            </a:gsLst>
            <a:lin ang="5400000" scaled="0"/>
          </a:gradFill>
        </p:spPr>
        <p:txBody>
          <a:bodyPr lIns="648000" tIns="828000" rIns="180000" bIns="180000" anchor="t" anchorCtr="0">
            <a:noAutofit/>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9611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4 Full page image with heading">
    <p:bg>
      <p:bgPr>
        <a:solidFill>
          <a:schemeClr val="tx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144000" cy="6858000"/>
          </a:xfrm>
          <a:solidFill>
            <a:schemeClr val="bg1">
              <a:lumMod val="65000"/>
            </a:schemeClr>
          </a:solidFill>
        </p:spPr>
        <p:txBody>
          <a:bodyPr lIns="0" tIns="3060000"/>
          <a:lstStyle>
            <a:lvl1pPr algn="ctr">
              <a:defRPr sz="1400" b="1">
                <a:solidFill>
                  <a:schemeClr val="bg1"/>
                </a:solidFill>
              </a:defRPr>
            </a:lvl1pPr>
          </a:lstStyle>
          <a:p>
            <a:endParaRPr lang="en-US"/>
          </a:p>
        </p:txBody>
      </p:sp>
      <p:sp>
        <p:nvSpPr>
          <p:cNvPr id="2" name="Title 1"/>
          <p:cNvSpPr>
            <a:spLocks noGrp="1"/>
          </p:cNvSpPr>
          <p:nvPr>
            <p:ph type="title"/>
          </p:nvPr>
        </p:nvSpPr>
        <p:spPr>
          <a:xfrm>
            <a:off x="-53340" y="3863340"/>
            <a:ext cx="9241790" cy="3064510"/>
          </a:xfrm>
          <a:prstGeom prst="rect">
            <a:avLst/>
          </a:prstGeom>
          <a:gradFill flip="none" rotWithShape="1">
            <a:gsLst>
              <a:gs pos="8000">
                <a:schemeClr val="tx1">
                  <a:alpha val="80000"/>
                </a:schemeClr>
              </a:gs>
              <a:gs pos="85000">
                <a:schemeClr val="bg1">
                  <a:alpha val="0"/>
                </a:schemeClr>
              </a:gs>
            </a:gsLst>
            <a:lin ang="16200000" scaled="1"/>
            <a:tileRect/>
          </a:gradFill>
        </p:spPr>
        <p:txBody>
          <a:bodyPr lIns="648000" tIns="1836000" rIns="180000" bIns="180000" anchor="t" anchorCtr="0">
            <a:noAutofit/>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392216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ody - 3 column white">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600077" y="1841500"/>
            <a:ext cx="2486024" cy="4635501"/>
          </a:xfrm>
          <a:prstGeom prst="rect">
            <a:avLst/>
          </a:prstGeom>
        </p:spPr>
        <p:txBody>
          <a:bodyPr lIns="0" tIns="0" rIns="0" bIns="0" numCol="1">
            <a:noAutofit/>
          </a:bodyPr>
          <a:lstStyle>
            <a:lvl1pPr>
              <a:defRPr sz="1600" b="0">
                <a:latin typeface="+mn-lt"/>
              </a:defRPr>
            </a:lvl1pPr>
            <a:lvl2pPr>
              <a:defRPr sz="1600" b="0">
                <a:latin typeface="+mn-lt"/>
              </a:defRPr>
            </a:lvl2pPr>
            <a:lvl3pPr marL="715963" indent="-357188">
              <a:buFont typeface="Segoe UI" panose="020B0502040204020203" pitchFamily="34" charset="0"/>
              <a:buChar char="̵"/>
              <a:defRPr sz="1600" b="0">
                <a:latin typeface="+mn-lt"/>
              </a:defRPr>
            </a:lvl3pPr>
            <a:lvl4pPr>
              <a:defRPr sz="1600" b="0">
                <a:latin typeface="+mn-lt"/>
              </a:defRPr>
            </a:lvl4pPr>
            <a:lvl5pPr marL="1431925" indent="-357188">
              <a:buFont typeface="Segoe UI" panose="020B0502040204020203" pitchFamily="34" charset="0"/>
              <a:buChar char="̵"/>
              <a:defRPr sz="1600"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6"/>
          <p:cNvSpPr>
            <a:spLocks noGrp="1"/>
          </p:cNvSpPr>
          <p:nvPr>
            <p:ph sz="quarter" idx="12"/>
          </p:nvPr>
        </p:nvSpPr>
        <p:spPr>
          <a:xfrm>
            <a:off x="3336927" y="1841500"/>
            <a:ext cx="2486024" cy="4635501"/>
          </a:xfrm>
          <a:prstGeom prst="rect">
            <a:avLst/>
          </a:prstGeom>
        </p:spPr>
        <p:txBody>
          <a:bodyPr lIns="0" tIns="0" rIns="0" bIns="0" numCol="1">
            <a:noAutofit/>
          </a:bodyPr>
          <a:lstStyle>
            <a:lvl1pPr>
              <a:defRPr sz="1600" b="0">
                <a:latin typeface="+mn-lt"/>
              </a:defRPr>
            </a:lvl1pPr>
            <a:lvl2pPr>
              <a:defRPr sz="1600" b="0">
                <a:latin typeface="+mn-lt"/>
              </a:defRPr>
            </a:lvl2pPr>
            <a:lvl3pPr marL="715963" indent="-357188">
              <a:buFont typeface="Segoe UI" panose="020B0502040204020203" pitchFamily="34" charset="0"/>
              <a:buChar char="̵"/>
              <a:defRPr sz="1600" b="0">
                <a:latin typeface="+mn-lt"/>
              </a:defRPr>
            </a:lvl3pPr>
            <a:lvl4pPr>
              <a:defRPr sz="1600" b="0">
                <a:latin typeface="+mn-lt"/>
              </a:defRPr>
            </a:lvl4pPr>
            <a:lvl5pPr marL="1431925" indent="-357188">
              <a:buFont typeface="Segoe UI" panose="020B0502040204020203" pitchFamily="34" charset="0"/>
              <a:buChar char="̵"/>
              <a:defRPr sz="1600"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6"/>
          <p:cNvSpPr>
            <a:spLocks noGrp="1"/>
          </p:cNvSpPr>
          <p:nvPr>
            <p:ph sz="quarter" idx="13"/>
          </p:nvPr>
        </p:nvSpPr>
        <p:spPr>
          <a:xfrm>
            <a:off x="6067427" y="1841500"/>
            <a:ext cx="2490786" cy="4635501"/>
          </a:xfrm>
          <a:prstGeom prst="rect">
            <a:avLst/>
          </a:prstGeom>
        </p:spPr>
        <p:txBody>
          <a:bodyPr lIns="0" tIns="0" rIns="0" bIns="0" numCol="1">
            <a:noAutofit/>
          </a:bodyPr>
          <a:lstStyle>
            <a:lvl1pPr>
              <a:defRPr sz="1600" b="0">
                <a:latin typeface="+mn-lt"/>
              </a:defRPr>
            </a:lvl1pPr>
            <a:lvl2pPr>
              <a:defRPr sz="1600" b="0">
                <a:latin typeface="+mn-lt"/>
              </a:defRPr>
            </a:lvl2pPr>
            <a:lvl3pPr marL="715963" indent="-357188">
              <a:buFont typeface="Segoe UI" panose="020B0502040204020203" pitchFamily="34" charset="0"/>
              <a:buChar char="̵"/>
              <a:defRPr sz="1600" b="0">
                <a:latin typeface="+mn-lt"/>
              </a:defRPr>
            </a:lvl3pPr>
            <a:lvl4pPr>
              <a:defRPr sz="1600" b="0">
                <a:latin typeface="+mn-lt"/>
              </a:defRPr>
            </a:lvl4pPr>
            <a:lvl5pPr marL="1431925" indent="-357188">
              <a:buFont typeface="Segoe UI" panose="020B0502040204020203" pitchFamily="34" charset="0"/>
              <a:buChar char="̵"/>
              <a:defRPr sz="1600"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noAutofit/>
          </a:bodyPr>
          <a:lstStyle/>
          <a:p>
            <a:r>
              <a:rPr lang="en-US"/>
              <a:t>Click to edit Master title style</a:t>
            </a:r>
          </a:p>
        </p:txBody>
      </p:sp>
      <p:sp>
        <p:nvSpPr>
          <p:cNvPr id="3" name="Footer Placeholder 2"/>
          <p:cNvSpPr>
            <a:spLocks noGrp="1"/>
          </p:cNvSpPr>
          <p:nvPr>
            <p:ph type="ftr" sz="quarter" idx="14"/>
          </p:nvPr>
        </p:nvSpPr>
        <p:spPr/>
        <p:txBody>
          <a:bodyPr/>
          <a:lstStyle/>
          <a:p>
            <a:r>
              <a:rPr lang="en-US"/>
              <a:t>Timesaver Template</a:t>
            </a:r>
          </a:p>
        </p:txBody>
      </p:sp>
      <p:sp>
        <p:nvSpPr>
          <p:cNvPr id="4" name="Slide Number Placeholder 3"/>
          <p:cNvSpPr>
            <a:spLocks noGrp="1"/>
          </p:cNvSpPr>
          <p:nvPr>
            <p:ph type="sldNum" sz="quarter" idx="15"/>
          </p:nvPr>
        </p:nvSpPr>
        <p:spPr/>
        <p:txBody>
          <a:bodyPr/>
          <a:lstStyle/>
          <a:p>
            <a:fld id="{92D0FD2A-77A2-4D72-8810-21B59CAC11F0}" type="slidenum">
              <a:rPr lang="en-US" smtClean="0"/>
              <a:pPr/>
              <a:t>‹#›</a:t>
            </a:fld>
            <a:endParaRPr lang="en-US"/>
          </a:p>
        </p:txBody>
      </p:sp>
    </p:spTree>
    <p:extLst>
      <p:ext uri="{BB962C8B-B14F-4D97-AF65-F5344CB8AC3E}">
        <p14:creationId xmlns:p14="http://schemas.microsoft.com/office/powerpoint/2010/main" val="3892204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ver 1 - dark">
    <p:bg>
      <p:bgPr>
        <a:solidFill>
          <a:schemeClr val="tx2"/>
        </a:solidFill>
        <a:effectLst/>
      </p:bgPr>
    </p:bg>
    <p:spTree>
      <p:nvGrpSpPr>
        <p:cNvPr id="1" name=""/>
        <p:cNvGrpSpPr/>
        <p:nvPr/>
      </p:nvGrpSpPr>
      <p:grpSpPr>
        <a:xfrm>
          <a:off x="0" y="0"/>
          <a:ext cx="0" cy="0"/>
          <a:chOff x="0" y="0"/>
          <a:chExt cx="0" cy="0"/>
        </a:xfrm>
      </p:grpSpPr>
      <p:pic>
        <p:nvPicPr>
          <p:cNvPr id="21" name="Pictur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70548" y="5346848"/>
            <a:ext cx="1304448" cy="449761"/>
          </a:xfrm>
          <a:prstGeom prst="rect">
            <a:avLst/>
          </a:prstGeom>
          <a:noFill/>
          <a:ln>
            <a:noFill/>
          </a:ln>
        </p:spPr>
      </p:pic>
      <p:sp>
        <p:nvSpPr>
          <p:cNvPr id="28" name="Text Placeholder 26"/>
          <p:cNvSpPr>
            <a:spLocks noGrp="1"/>
          </p:cNvSpPr>
          <p:nvPr>
            <p:ph type="body" sz="quarter" idx="11"/>
          </p:nvPr>
        </p:nvSpPr>
        <p:spPr>
          <a:xfrm>
            <a:off x="3170548" y="4240468"/>
            <a:ext cx="4347852" cy="677333"/>
          </a:xfrm>
          <a:prstGeom prst="rect">
            <a:avLst/>
          </a:prstGeom>
        </p:spPr>
        <p:txBody>
          <a:bodyPr lIns="0" tIns="0" rIns="0" bIns="0">
            <a:noAutofit/>
          </a:bodyPr>
          <a:lstStyle>
            <a:lvl1pPr>
              <a:spcBef>
                <a:spcPts val="0"/>
              </a:spcBef>
              <a:spcAft>
                <a:spcPts val="0"/>
              </a:spcAft>
              <a:defRPr sz="1000">
                <a:solidFill>
                  <a:schemeClr val="bg1"/>
                </a:solidFill>
              </a:defRPr>
            </a:lvl1pPr>
          </a:lstStyle>
          <a:p>
            <a:pPr lvl="0"/>
            <a:r>
              <a:rPr lang="en-US" dirty="0"/>
              <a:t>Click to edit Master text styles</a:t>
            </a:r>
          </a:p>
        </p:txBody>
      </p:sp>
      <p:sp>
        <p:nvSpPr>
          <p:cNvPr id="29" name="Title 28"/>
          <p:cNvSpPr>
            <a:spLocks noGrp="1"/>
          </p:cNvSpPr>
          <p:nvPr>
            <p:ph type="title"/>
          </p:nvPr>
        </p:nvSpPr>
        <p:spPr>
          <a:xfrm>
            <a:off x="3170548" y="1610919"/>
            <a:ext cx="4343012" cy="1711401"/>
          </a:xfrm>
        </p:spPr>
        <p:txBody>
          <a:bodyPr>
            <a:noAutofit/>
          </a:bodyPr>
          <a:lstStyle>
            <a:lvl1pPr>
              <a:lnSpc>
                <a:spcPts val="2800"/>
              </a:lnSpc>
              <a:defRPr sz="2800">
                <a:solidFill>
                  <a:schemeClr val="bg1"/>
                </a:solidFill>
              </a:defRPr>
            </a:lvl1pPr>
          </a:lstStyle>
          <a:p>
            <a:r>
              <a:rPr lang="en-US" dirty="0"/>
              <a:t>Click to edit Master title style</a:t>
            </a:r>
          </a:p>
        </p:txBody>
      </p:sp>
      <p:sp>
        <p:nvSpPr>
          <p:cNvPr id="33" name="Text Placeholder 32"/>
          <p:cNvSpPr>
            <a:spLocks noGrp="1"/>
          </p:cNvSpPr>
          <p:nvPr>
            <p:ph type="body" sz="quarter" idx="12"/>
          </p:nvPr>
        </p:nvSpPr>
        <p:spPr>
          <a:xfrm>
            <a:off x="3170548" y="3546203"/>
            <a:ext cx="4354202" cy="601133"/>
          </a:xfrm>
          <a:prstGeom prst="rect">
            <a:avLst/>
          </a:prstGeom>
        </p:spPr>
        <p:txBody>
          <a:bodyPr lIns="0" tIns="0" rIns="0" bIns="0">
            <a:noAutofit/>
          </a:bodyPr>
          <a:lstStyle>
            <a:lvl1pPr>
              <a:defRPr>
                <a:solidFill>
                  <a:schemeClr val="bg1"/>
                </a:solidFill>
              </a:defRPr>
            </a:lvl1pPr>
          </a:lstStyle>
          <a:p>
            <a:pPr lvl="0"/>
            <a:r>
              <a:rPr lang="en-US" dirty="0"/>
              <a:t>Click to edit Master text styles</a:t>
            </a:r>
          </a:p>
        </p:txBody>
      </p:sp>
      <p:sp>
        <p:nvSpPr>
          <p:cNvPr id="3" name="Picture Placeholder 2"/>
          <p:cNvSpPr>
            <a:spLocks noGrp="1"/>
          </p:cNvSpPr>
          <p:nvPr>
            <p:ph type="pic" sz="quarter" idx="15" hasCustomPrompt="1"/>
          </p:nvPr>
        </p:nvSpPr>
        <p:spPr>
          <a:xfrm>
            <a:off x="-67220" y="-45720"/>
            <a:ext cx="9228138" cy="6957060"/>
          </a:xfrm>
          <a:custGeom>
            <a:avLst/>
            <a:gdLst>
              <a:gd name="connsiteX0" fmla="*/ 0 w 9228138"/>
              <a:gd name="connsiteY0" fmla="*/ 0 h 6934200"/>
              <a:gd name="connsiteX1" fmla="*/ 9228138 w 9228138"/>
              <a:gd name="connsiteY1" fmla="*/ 0 h 6934200"/>
              <a:gd name="connsiteX2" fmla="*/ 9228138 w 9228138"/>
              <a:gd name="connsiteY2" fmla="*/ 6934200 h 6934200"/>
              <a:gd name="connsiteX3" fmla="*/ 0 w 9228138"/>
              <a:gd name="connsiteY3" fmla="*/ 6934200 h 6934200"/>
              <a:gd name="connsiteX4" fmla="*/ 0 w 9228138"/>
              <a:gd name="connsiteY4" fmla="*/ 0 h 6934200"/>
              <a:gd name="connsiteX0" fmla="*/ 0 w 9228138"/>
              <a:gd name="connsiteY0" fmla="*/ 7620 h 6941820"/>
              <a:gd name="connsiteX1" fmla="*/ 3909060 w 9228138"/>
              <a:gd name="connsiteY1" fmla="*/ 0 h 6941820"/>
              <a:gd name="connsiteX2" fmla="*/ 9228138 w 9228138"/>
              <a:gd name="connsiteY2" fmla="*/ 7620 h 6941820"/>
              <a:gd name="connsiteX3" fmla="*/ 9228138 w 9228138"/>
              <a:gd name="connsiteY3" fmla="*/ 6941820 h 6941820"/>
              <a:gd name="connsiteX4" fmla="*/ 0 w 9228138"/>
              <a:gd name="connsiteY4" fmla="*/ 6941820 h 6941820"/>
              <a:gd name="connsiteX5" fmla="*/ 0 w 9228138"/>
              <a:gd name="connsiteY5" fmla="*/ 7620 h 6941820"/>
              <a:gd name="connsiteX0" fmla="*/ 0 w 9228138"/>
              <a:gd name="connsiteY0" fmla="*/ 15240 h 6949440"/>
              <a:gd name="connsiteX1" fmla="*/ 3909060 w 9228138"/>
              <a:gd name="connsiteY1" fmla="*/ 7620 h 6949440"/>
              <a:gd name="connsiteX2" fmla="*/ 6088380 w 9228138"/>
              <a:gd name="connsiteY2" fmla="*/ 0 h 6949440"/>
              <a:gd name="connsiteX3" fmla="*/ 9228138 w 9228138"/>
              <a:gd name="connsiteY3" fmla="*/ 15240 h 6949440"/>
              <a:gd name="connsiteX4" fmla="*/ 9228138 w 9228138"/>
              <a:gd name="connsiteY4" fmla="*/ 6949440 h 6949440"/>
              <a:gd name="connsiteX5" fmla="*/ 0 w 9228138"/>
              <a:gd name="connsiteY5" fmla="*/ 6949440 h 6949440"/>
              <a:gd name="connsiteX6" fmla="*/ 0 w 9228138"/>
              <a:gd name="connsiteY6" fmla="*/ 15240 h 6949440"/>
              <a:gd name="connsiteX0" fmla="*/ 0 w 9228138"/>
              <a:gd name="connsiteY0" fmla="*/ 7620 h 6957060"/>
              <a:gd name="connsiteX1" fmla="*/ 3909060 w 9228138"/>
              <a:gd name="connsiteY1" fmla="*/ 0 h 6957060"/>
              <a:gd name="connsiteX2" fmla="*/ 1272540 w 9228138"/>
              <a:gd name="connsiteY2" fmla="*/ 6957060 h 6957060"/>
              <a:gd name="connsiteX3" fmla="*/ 9228138 w 9228138"/>
              <a:gd name="connsiteY3" fmla="*/ 7620 h 6957060"/>
              <a:gd name="connsiteX4" fmla="*/ 9228138 w 9228138"/>
              <a:gd name="connsiteY4" fmla="*/ 6941820 h 6957060"/>
              <a:gd name="connsiteX5" fmla="*/ 0 w 9228138"/>
              <a:gd name="connsiteY5" fmla="*/ 6941820 h 6957060"/>
              <a:gd name="connsiteX6" fmla="*/ 0 w 9228138"/>
              <a:gd name="connsiteY6" fmla="*/ 7620 h 6957060"/>
              <a:gd name="connsiteX0" fmla="*/ 0 w 9228138"/>
              <a:gd name="connsiteY0" fmla="*/ 7620 h 6957060"/>
              <a:gd name="connsiteX1" fmla="*/ 3909060 w 9228138"/>
              <a:gd name="connsiteY1" fmla="*/ 0 h 6957060"/>
              <a:gd name="connsiteX2" fmla="*/ 1272540 w 9228138"/>
              <a:gd name="connsiteY2" fmla="*/ 6957060 h 6957060"/>
              <a:gd name="connsiteX3" fmla="*/ 7947660 w 9228138"/>
              <a:gd name="connsiteY3" fmla="*/ 1104900 h 6957060"/>
              <a:gd name="connsiteX4" fmla="*/ 9228138 w 9228138"/>
              <a:gd name="connsiteY4" fmla="*/ 7620 h 6957060"/>
              <a:gd name="connsiteX5" fmla="*/ 9228138 w 9228138"/>
              <a:gd name="connsiteY5" fmla="*/ 6941820 h 6957060"/>
              <a:gd name="connsiteX6" fmla="*/ 0 w 9228138"/>
              <a:gd name="connsiteY6" fmla="*/ 6941820 h 6957060"/>
              <a:gd name="connsiteX7" fmla="*/ 0 w 9228138"/>
              <a:gd name="connsiteY7" fmla="*/ 7620 h 6957060"/>
              <a:gd name="connsiteX0" fmla="*/ 0 w 9228138"/>
              <a:gd name="connsiteY0" fmla="*/ 7620 h 6957060"/>
              <a:gd name="connsiteX1" fmla="*/ 3909060 w 9228138"/>
              <a:gd name="connsiteY1" fmla="*/ 0 h 6957060"/>
              <a:gd name="connsiteX2" fmla="*/ 1272540 w 9228138"/>
              <a:gd name="connsiteY2" fmla="*/ 6957060 h 6957060"/>
              <a:gd name="connsiteX3" fmla="*/ 6591300 w 9228138"/>
              <a:gd name="connsiteY3" fmla="*/ 6934200 h 6957060"/>
              <a:gd name="connsiteX4" fmla="*/ 9228138 w 9228138"/>
              <a:gd name="connsiteY4" fmla="*/ 7620 h 6957060"/>
              <a:gd name="connsiteX5" fmla="*/ 9228138 w 9228138"/>
              <a:gd name="connsiteY5" fmla="*/ 6941820 h 6957060"/>
              <a:gd name="connsiteX6" fmla="*/ 0 w 9228138"/>
              <a:gd name="connsiteY6" fmla="*/ 6941820 h 6957060"/>
              <a:gd name="connsiteX7" fmla="*/ 0 w 9228138"/>
              <a:gd name="connsiteY7" fmla="*/ 7620 h 6957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28138" h="6957060">
                <a:moveTo>
                  <a:pt x="0" y="7620"/>
                </a:moveTo>
                <a:lnTo>
                  <a:pt x="3909060" y="0"/>
                </a:lnTo>
                <a:lnTo>
                  <a:pt x="1272540" y="6957060"/>
                </a:lnTo>
                <a:lnTo>
                  <a:pt x="6591300" y="6934200"/>
                </a:lnTo>
                <a:lnTo>
                  <a:pt x="9228138" y="7620"/>
                </a:lnTo>
                <a:lnTo>
                  <a:pt x="9228138" y="6941820"/>
                </a:lnTo>
                <a:lnTo>
                  <a:pt x="0" y="6941820"/>
                </a:lnTo>
                <a:lnTo>
                  <a:pt x="0" y="7620"/>
                </a:lnTo>
                <a:close/>
              </a:path>
            </a:pathLst>
          </a:custGeom>
          <a:solidFill>
            <a:schemeClr val="bg1">
              <a:lumMod val="65000"/>
            </a:schemeClr>
          </a:solidFill>
        </p:spPr>
        <p:txBody>
          <a:bodyPr lIns="216000" tIns="3348000"/>
          <a:lstStyle>
            <a:lvl1pPr>
              <a:defRPr b="1" baseline="0">
                <a:solidFill>
                  <a:schemeClr val="bg1"/>
                </a:solidFill>
              </a:defRPr>
            </a:lvl1pPr>
          </a:lstStyle>
          <a:p>
            <a:r>
              <a:rPr lang="en-AU" dirty="0"/>
              <a:t>Click on icon to import picture -&gt;&gt;&gt;&gt;</a:t>
            </a:r>
            <a:endParaRPr lang="en-US" dirty="0"/>
          </a:p>
        </p:txBody>
      </p:sp>
      <p:sp>
        <p:nvSpPr>
          <p:cNvPr id="8" name="Date Placeholder 3"/>
          <p:cNvSpPr txBox="1">
            <a:spLocks/>
          </p:cNvSpPr>
          <p:nvPr userDrawn="1"/>
        </p:nvSpPr>
        <p:spPr>
          <a:xfrm>
            <a:off x="3170548" y="6306094"/>
            <a:ext cx="1269504" cy="216024"/>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900" dirty="0">
                <a:solidFill>
                  <a:schemeClr val="bg1"/>
                </a:solidFill>
                <a:latin typeface="Segoe UI" panose="020B0502040204020203" pitchFamily="34" charset="0"/>
                <a:ea typeface="Segoe UI" panose="020B0502040204020203" pitchFamily="34" charset="0"/>
                <a:cs typeface="Segoe UI" panose="020B0502040204020203" pitchFamily="34" charset="0"/>
              </a:rPr>
              <a:t>www.</a:t>
            </a:r>
            <a:r>
              <a:rPr lang="en-AU" sz="900" b="1" dirty="0">
                <a:solidFill>
                  <a:schemeClr val="bg1"/>
                </a:solidFill>
                <a:latin typeface="Segoe UI" panose="020B0502040204020203" pitchFamily="34" charset="0"/>
                <a:ea typeface="Segoe UI" panose="020B0502040204020203" pitchFamily="34" charset="0"/>
                <a:cs typeface="Segoe UI" panose="020B0502040204020203" pitchFamily="34" charset="0"/>
              </a:rPr>
              <a:t>advisian</a:t>
            </a:r>
            <a:r>
              <a:rPr lang="en-AU" sz="900" dirty="0">
                <a:solidFill>
                  <a:schemeClr val="bg1"/>
                </a:solidFill>
                <a:latin typeface="Segoe UI" panose="020B0502040204020203" pitchFamily="34" charset="0"/>
                <a:ea typeface="Segoe UI" panose="020B0502040204020203" pitchFamily="34" charset="0"/>
                <a:cs typeface="Segoe UI" panose="020B0502040204020203" pitchFamily="34" charset="0"/>
              </a:rPr>
              <a:t>.com</a:t>
            </a:r>
          </a:p>
        </p:txBody>
      </p:sp>
    </p:spTree>
    <p:extLst>
      <p:ext uri="{BB962C8B-B14F-4D97-AF65-F5344CB8AC3E}">
        <p14:creationId xmlns:p14="http://schemas.microsoft.com/office/powerpoint/2010/main" val="2738747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ver 2 - charcoal">
    <p:bg>
      <p:bgPr>
        <a:solidFill>
          <a:schemeClr val="tx2"/>
        </a:solidFill>
        <a:effectLst/>
      </p:bgPr>
    </p:bg>
    <p:spTree>
      <p:nvGrpSpPr>
        <p:cNvPr id="1" name=""/>
        <p:cNvGrpSpPr/>
        <p:nvPr/>
      </p:nvGrpSpPr>
      <p:grpSpPr>
        <a:xfrm>
          <a:off x="0" y="0"/>
          <a:ext cx="0" cy="0"/>
          <a:chOff x="0" y="0"/>
          <a:chExt cx="0" cy="0"/>
        </a:xfrm>
      </p:grpSpPr>
      <p:sp>
        <p:nvSpPr>
          <p:cNvPr id="28" name="Text Placeholder 26"/>
          <p:cNvSpPr>
            <a:spLocks noGrp="1"/>
          </p:cNvSpPr>
          <p:nvPr>
            <p:ph type="body" sz="quarter" idx="11"/>
          </p:nvPr>
        </p:nvSpPr>
        <p:spPr>
          <a:xfrm>
            <a:off x="4475473" y="4240468"/>
            <a:ext cx="4354126" cy="677333"/>
          </a:xfrm>
          <a:prstGeom prst="rect">
            <a:avLst/>
          </a:prstGeom>
        </p:spPr>
        <p:txBody>
          <a:bodyPr lIns="0" tIns="0" rIns="0" bIns="0">
            <a:noAutofit/>
          </a:bodyPr>
          <a:lstStyle>
            <a:lvl1pPr>
              <a:spcBef>
                <a:spcPts val="0"/>
              </a:spcBef>
              <a:spcAft>
                <a:spcPts val="0"/>
              </a:spcAft>
              <a:defRPr sz="1000">
                <a:solidFill>
                  <a:schemeClr val="bg1"/>
                </a:solidFill>
              </a:defRPr>
            </a:lvl1pPr>
          </a:lstStyle>
          <a:p>
            <a:pPr lvl="0"/>
            <a:r>
              <a:rPr lang="en-US" dirty="0"/>
              <a:t>Click to edit Master text styles</a:t>
            </a:r>
          </a:p>
        </p:txBody>
      </p:sp>
      <p:sp>
        <p:nvSpPr>
          <p:cNvPr id="29" name="Title 28"/>
          <p:cNvSpPr>
            <a:spLocks noGrp="1"/>
          </p:cNvSpPr>
          <p:nvPr>
            <p:ph type="title"/>
          </p:nvPr>
        </p:nvSpPr>
        <p:spPr>
          <a:xfrm>
            <a:off x="4475473" y="1610919"/>
            <a:ext cx="4343012" cy="1711401"/>
          </a:xfrm>
        </p:spPr>
        <p:txBody>
          <a:bodyPr>
            <a:noAutofit/>
          </a:bodyPr>
          <a:lstStyle>
            <a:lvl1pPr>
              <a:lnSpc>
                <a:spcPts val="2800"/>
              </a:lnSpc>
              <a:defRPr sz="2800">
                <a:solidFill>
                  <a:schemeClr val="bg1"/>
                </a:solidFill>
              </a:defRPr>
            </a:lvl1pPr>
          </a:lstStyle>
          <a:p>
            <a:r>
              <a:rPr lang="en-US" dirty="0"/>
              <a:t>Click to edit Master title style</a:t>
            </a:r>
          </a:p>
        </p:txBody>
      </p:sp>
      <p:sp>
        <p:nvSpPr>
          <p:cNvPr id="33" name="Text Placeholder 32"/>
          <p:cNvSpPr>
            <a:spLocks noGrp="1"/>
          </p:cNvSpPr>
          <p:nvPr>
            <p:ph type="body" sz="quarter" idx="12"/>
          </p:nvPr>
        </p:nvSpPr>
        <p:spPr>
          <a:xfrm>
            <a:off x="4475473" y="3546203"/>
            <a:ext cx="4327774" cy="601133"/>
          </a:xfrm>
          <a:prstGeom prst="rect">
            <a:avLst/>
          </a:prstGeom>
        </p:spPr>
        <p:txBody>
          <a:bodyPr lIns="0" tIns="0" rIns="0" bIns="0">
            <a:noAutofit/>
          </a:bodyPr>
          <a:lstStyle>
            <a:lvl1pPr>
              <a:defRPr>
                <a:solidFill>
                  <a:schemeClr val="bg1"/>
                </a:solidFill>
              </a:defRPr>
            </a:lvl1pPr>
          </a:lstStyle>
          <a:p>
            <a:pPr lvl="0"/>
            <a:r>
              <a:rPr lang="en-US" dirty="0"/>
              <a:t>Click to edit Master text styles</a:t>
            </a:r>
          </a:p>
        </p:txBody>
      </p:sp>
      <p:sp>
        <p:nvSpPr>
          <p:cNvPr id="10" name="Date Placeholder 3"/>
          <p:cNvSpPr txBox="1">
            <a:spLocks/>
          </p:cNvSpPr>
          <p:nvPr userDrawn="1"/>
        </p:nvSpPr>
        <p:spPr>
          <a:xfrm>
            <a:off x="4475473" y="6248944"/>
            <a:ext cx="1269504" cy="216024"/>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900" dirty="0">
                <a:solidFill>
                  <a:schemeClr val="bg1"/>
                </a:solidFill>
                <a:latin typeface="Segoe UI" panose="020B0502040204020203" pitchFamily="34" charset="0"/>
                <a:ea typeface="Segoe UI" panose="020B0502040204020203" pitchFamily="34" charset="0"/>
                <a:cs typeface="Segoe UI" panose="020B0502040204020203" pitchFamily="34" charset="0"/>
              </a:rPr>
              <a:t>www.</a:t>
            </a:r>
            <a:r>
              <a:rPr lang="en-AU" sz="900" b="1" dirty="0">
                <a:solidFill>
                  <a:schemeClr val="bg1"/>
                </a:solidFill>
                <a:latin typeface="Segoe UI" panose="020B0502040204020203" pitchFamily="34" charset="0"/>
                <a:ea typeface="Segoe UI" panose="020B0502040204020203" pitchFamily="34" charset="0"/>
                <a:cs typeface="Segoe UI" panose="020B0502040204020203" pitchFamily="34" charset="0"/>
              </a:rPr>
              <a:t>advisian</a:t>
            </a:r>
            <a:r>
              <a:rPr lang="en-AU" sz="900" dirty="0">
                <a:solidFill>
                  <a:schemeClr val="bg1"/>
                </a:solidFill>
                <a:latin typeface="Segoe UI" panose="020B0502040204020203" pitchFamily="34" charset="0"/>
                <a:ea typeface="Segoe UI" panose="020B0502040204020203" pitchFamily="34" charset="0"/>
                <a:cs typeface="Segoe UI" panose="020B0502040204020203" pitchFamily="34" charset="0"/>
              </a:rPr>
              <a:t>.com</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75473" y="5346848"/>
            <a:ext cx="1227613" cy="423269"/>
          </a:xfrm>
          <a:prstGeom prst="rect">
            <a:avLst/>
          </a:prstGeom>
          <a:noFill/>
          <a:ln>
            <a:noFill/>
          </a:ln>
        </p:spPr>
      </p:pic>
      <p:sp>
        <p:nvSpPr>
          <p:cNvPr id="5" name="Picture Placeholder 4"/>
          <p:cNvSpPr>
            <a:spLocks noGrp="1"/>
          </p:cNvSpPr>
          <p:nvPr>
            <p:ph type="pic" sz="quarter" idx="17"/>
          </p:nvPr>
        </p:nvSpPr>
        <p:spPr>
          <a:xfrm>
            <a:off x="-66674" y="-76200"/>
            <a:ext cx="5271134" cy="7002780"/>
          </a:xfrm>
          <a:custGeom>
            <a:avLst/>
            <a:gdLst>
              <a:gd name="connsiteX0" fmla="*/ 0 w 5271134"/>
              <a:gd name="connsiteY0" fmla="*/ 0 h 7000876"/>
              <a:gd name="connsiteX1" fmla="*/ 5271134 w 5271134"/>
              <a:gd name="connsiteY1" fmla="*/ 0 h 7000876"/>
              <a:gd name="connsiteX2" fmla="*/ 5271134 w 5271134"/>
              <a:gd name="connsiteY2" fmla="*/ 7000876 h 7000876"/>
              <a:gd name="connsiteX3" fmla="*/ 0 w 5271134"/>
              <a:gd name="connsiteY3" fmla="*/ 7000876 h 7000876"/>
              <a:gd name="connsiteX4" fmla="*/ 0 w 5271134"/>
              <a:gd name="connsiteY4" fmla="*/ 0 h 7000876"/>
              <a:gd name="connsiteX0" fmla="*/ 0 w 5271134"/>
              <a:gd name="connsiteY0" fmla="*/ 0 h 7002780"/>
              <a:gd name="connsiteX1" fmla="*/ 5271134 w 5271134"/>
              <a:gd name="connsiteY1" fmla="*/ 0 h 7002780"/>
              <a:gd name="connsiteX2" fmla="*/ 5271134 w 5271134"/>
              <a:gd name="connsiteY2" fmla="*/ 7000876 h 7002780"/>
              <a:gd name="connsiteX3" fmla="*/ 2619374 w 5271134"/>
              <a:gd name="connsiteY3" fmla="*/ 7002780 h 7002780"/>
              <a:gd name="connsiteX4" fmla="*/ 0 w 5271134"/>
              <a:gd name="connsiteY4" fmla="*/ 7000876 h 7002780"/>
              <a:gd name="connsiteX5" fmla="*/ 0 w 5271134"/>
              <a:gd name="connsiteY5" fmla="*/ 0 h 7002780"/>
              <a:gd name="connsiteX0" fmla="*/ 0 w 5271134"/>
              <a:gd name="connsiteY0" fmla="*/ 0 h 7002780"/>
              <a:gd name="connsiteX1" fmla="*/ 5271134 w 5271134"/>
              <a:gd name="connsiteY1" fmla="*/ 0 h 7002780"/>
              <a:gd name="connsiteX2" fmla="*/ 2619374 w 5271134"/>
              <a:gd name="connsiteY2" fmla="*/ 7002780 h 7002780"/>
              <a:gd name="connsiteX3" fmla="*/ 0 w 5271134"/>
              <a:gd name="connsiteY3" fmla="*/ 7000876 h 7002780"/>
              <a:gd name="connsiteX4" fmla="*/ 0 w 5271134"/>
              <a:gd name="connsiteY4" fmla="*/ 0 h 7002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1134" h="7002780">
                <a:moveTo>
                  <a:pt x="0" y="0"/>
                </a:moveTo>
                <a:lnTo>
                  <a:pt x="5271134" y="0"/>
                </a:lnTo>
                <a:lnTo>
                  <a:pt x="2619374" y="7002780"/>
                </a:lnTo>
                <a:lnTo>
                  <a:pt x="0" y="7000876"/>
                </a:lnTo>
                <a:lnTo>
                  <a:pt x="0" y="0"/>
                </a:lnTo>
                <a:close/>
              </a:path>
            </a:pathLst>
          </a:custGeom>
          <a:solidFill>
            <a:schemeClr val="bg1">
              <a:lumMod val="65000"/>
            </a:schemeClr>
          </a:solidFill>
        </p:spPr>
        <p:txBody>
          <a:bodyPr lIns="576000" tIns="3348000"/>
          <a:lstStyle>
            <a:lvl1pPr>
              <a:defRPr sz="1200" b="1">
                <a:solidFill>
                  <a:schemeClr val="bg1"/>
                </a:solidFill>
              </a:defRPr>
            </a:lvl1pPr>
          </a:lstStyle>
          <a:p>
            <a:endParaRPr lang="en-US"/>
          </a:p>
        </p:txBody>
      </p:sp>
    </p:spTree>
    <p:extLst>
      <p:ext uri="{BB962C8B-B14F-4D97-AF65-F5344CB8AC3E}">
        <p14:creationId xmlns:p14="http://schemas.microsoft.com/office/powerpoint/2010/main" val="1654015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 no image dark">
    <p:bg>
      <p:bgPr>
        <a:solidFill>
          <a:schemeClr val="tx2"/>
        </a:solidFill>
        <a:effectLst/>
      </p:bgPr>
    </p:bg>
    <p:spTree>
      <p:nvGrpSpPr>
        <p:cNvPr id="1" name=""/>
        <p:cNvGrpSpPr/>
        <p:nvPr/>
      </p:nvGrpSpPr>
      <p:grpSpPr>
        <a:xfrm>
          <a:off x="0" y="0"/>
          <a:ext cx="0" cy="0"/>
          <a:chOff x="0" y="0"/>
          <a:chExt cx="0" cy="0"/>
        </a:xfrm>
      </p:grpSpPr>
      <p:sp>
        <p:nvSpPr>
          <p:cNvPr id="28" name="Text Placeholder 26"/>
          <p:cNvSpPr>
            <a:spLocks noGrp="1"/>
          </p:cNvSpPr>
          <p:nvPr>
            <p:ph type="body" sz="quarter" idx="11"/>
          </p:nvPr>
        </p:nvSpPr>
        <p:spPr>
          <a:xfrm>
            <a:off x="600077" y="4241800"/>
            <a:ext cx="7964486" cy="313267"/>
          </a:xfrm>
          <a:prstGeom prst="rect">
            <a:avLst/>
          </a:prstGeom>
        </p:spPr>
        <p:txBody>
          <a:bodyPr lIns="0" tIns="0" rIns="0" bIns="0">
            <a:noAutofit/>
          </a:bodyPr>
          <a:lstStyle>
            <a:lvl1pPr>
              <a:spcBef>
                <a:spcPts val="0"/>
              </a:spcBef>
              <a:spcAft>
                <a:spcPts val="0"/>
              </a:spcAft>
              <a:defRPr sz="1000">
                <a:solidFill>
                  <a:schemeClr val="bg1"/>
                </a:solidFill>
              </a:defRPr>
            </a:lvl1pPr>
          </a:lstStyle>
          <a:p>
            <a:pPr lvl="0"/>
            <a:r>
              <a:rPr lang="en-US" dirty="0"/>
              <a:t>Click to edit Master text styles</a:t>
            </a:r>
          </a:p>
        </p:txBody>
      </p:sp>
      <p:sp>
        <p:nvSpPr>
          <p:cNvPr id="29" name="Title 28"/>
          <p:cNvSpPr>
            <a:spLocks noGrp="1"/>
          </p:cNvSpPr>
          <p:nvPr>
            <p:ph type="title"/>
          </p:nvPr>
        </p:nvSpPr>
        <p:spPr>
          <a:xfrm>
            <a:off x="600077" y="1845735"/>
            <a:ext cx="7964486" cy="1439333"/>
          </a:xfrm>
        </p:spPr>
        <p:txBody>
          <a:bodyPr>
            <a:noAutofit/>
          </a:bodyPr>
          <a:lstStyle>
            <a:lvl1pPr>
              <a:lnSpc>
                <a:spcPts val="3600"/>
              </a:lnSpc>
              <a:defRPr sz="3600">
                <a:solidFill>
                  <a:schemeClr val="bg1"/>
                </a:solidFill>
              </a:defRPr>
            </a:lvl1pPr>
          </a:lstStyle>
          <a:p>
            <a:r>
              <a:rPr lang="en-US" dirty="0"/>
              <a:t>Click to edit Master title style</a:t>
            </a:r>
          </a:p>
        </p:txBody>
      </p:sp>
      <p:sp>
        <p:nvSpPr>
          <p:cNvPr id="33" name="Text Placeholder 32"/>
          <p:cNvSpPr>
            <a:spLocks noGrp="1"/>
          </p:cNvSpPr>
          <p:nvPr>
            <p:ph type="body" sz="quarter" idx="12"/>
          </p:nvPr>
        </p:nvSpPr>
        <p:spPr>
          <a:xfrm>
            <a:off x="600077" y="3471335"/>
            <a:ext cx="7964486" cy="601133"/>
          </a:xfrm>
          <a:prstGeom prst="rect">
            <a:avLst/>
          </a:prstGeom>
        </p:spPr>
        <p:txBody>
          <a:bodyPr lIns="0" tIns="0" rIns="0" bIns="0">
            <a:noAutofit/>
          </a:bodyPr>
          <a:lstStyle>
            <a:lvl1pPr>
              <a:lnSpc>
                <a:spcPts val="1700"/>
              </a:lnSpc>
              <a:spcBef>
                <a:spcPts val="0"/>
              </a:spcBef>
              <a:spcAft>
                <a:spcPts val="0"/>
              </a:spcAft>
              <a:defRPr>
                <a:solidFill>
                  <a:schemeClr val="bg1"/>
                </a:solidFill>
              </a:defRPr>
            </a:lvl1pPr>
          </a:lstStyle>
          <a:p>
            <a:pPr lvl="0"/>
            <a:r>
              <a:rPr lang="en-US" dirty="0"/>
              <a:t>Click to edit Master text styles</a:t>
            </a:r>
          </a:p>
        </p:txBody>
      </p:sp>
      <p:sp>
        <p:nvSpPr>
          <p:cNvPr id="10" name="Picture Placeholder 3"/>
          <p:cNvSpPr>
            <a:spLocks noGrp="1"/>
          </p:cNvSpPr>
          <p:nvPr>
            <p:ph type="pic" sz="quarter" idx="16" hasCustomPrompt="1"/>
          </p:nvPr>
        </p:nvSpPr>
        <p:spPr>
          <a:xfrm>
            <a:off x="7170515" y="5289208"/>
            <a:ext cx="1413098" cy="465105"/>
          </a:xfrm>
        </p:spPr>
        <p:txBody>
          <a:bodyPr/>
          <a:lstStyle>
            <a:lvl1pPr algn="ctr">
              <a:defRPr sz="800" b="1" baseline="0">
                <a:solidFill>
                  <a:schemeClr val="bg1"/>
                </a:solidFill>
              </a:defRPr>
            </a:lvl1pPr>
          </a:lstStyle>
          <a:p>
            <a:r>
              <a:rPr lang="en-AU" dirty="0"/>
              <a:t>Client logo</a:t>
            </a:r>
            <a:endParaRPr lang="en-US" dirty="0"/>
          </a:p>
        </p:txBody>
      </p:sp>
      <p:sp>
        <p:nvSpPr>
          <p:cNvPr id="14" name="Date Placeholder 3"/>
          <p:cNvSpPr txBox="1">
            <a:spLocks/>
          </p:cNvSpPr>
          <p:nvPr userDrawn="1"/>
        </p:nvSpPr>
        <p:spPr>
          <a:xfrm>
            <a:off x="607174" y="6248944"/>
            <a:ext cx="1269504" cy="216024"/>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900" dirty="0">
                <a:solidFill>
                  <a:schemeClr val="bg1"/>
                </a:solidFill>
                <a:latin typeface="Segoe UI" panose="020B0502040204020203" pitchFamily="34" charset="0"/>
                <a:ea typeface="Segoe UI" panose="020B0502040204020203" pitchFamily="34" charset="0"/>
                <a:cs typeface="Segoe UI" panose="020B0502040204020203" pitchFamily="34" charset="0"/>
              </a:rPr>
              <a:t>www.</a:t>
            </a:r>
            <a:r>
              <a:rPr lang="en-AU" sz="900" b="1" dirty="0">
                <a:solidFill>
                  <a:schemeClr val="bg1"/>
                </a:solidFill>
                <a:latin typeface="Segoe UI" panose="020B0502040204020203" pitchFamily="34" charset="0"/>
                <a:ea typeface="Segoe UI" panose="020B0502040204020203" pitchFamily="34" charset="0"/>
                <a:cs typeface="Segoe UI" panose="020B0502040204020203" pitchFamily="34" charset="0"/>
              </a:rPr>
              <a:t>advisian</a:t>
            </a:r>
            <a:r>
              <a:rPr lang="en-AU" sz="900" dirty="0">
                <a:solidFill>
                  <a:schemeClr val="bg1"/>
                </a:solidFill>
                <a:latin typeface="Segoe UI" panose="020B0502040204020203" pitchFamily="34" charset="0"/>
                <a:ea typeface="Segoe UI" panose="020B0502040204020203" pitchFamily="34" charset="0"/>
                <a:cs typeface="Segoe UI" panose="020B0502040204020203" pitchFamily="34" charset="0"/>
              </a:rPr>
              <a:t>.com</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5526" y="5282894"/>
            <a:ext cx="1227613" cy="423269"/>
          </a:xfrm>
          <a:prstGeom prst="rect">
            <a:avLst/>
          </a:prstGeom>
          <a:noFill/>
          <a:ln>
            <a:noFill/>
          </a:ln>
        </p:spPr>
      </p:pic>
    </p:spTree>
    <p:extLst>
      <p:ext uri="{BB962C8B-B14F-4D97-AF65-F5344CB8AC3E}">
        <p14:creationId xmlns:p14="http://schemas.microsoft.com/office/powerpoint/2010/main" val="47296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ody - 1 column dark">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Content Placeholder 4"/>
          <p:cNvSpPr>
            <a:spLocks noGrp="1"/>
          </p:cNvSpPr>
          <p:nvPr>
            <p:ph sz="quarter" idx="10"/>
          </p:nvPr>
        </p:nvSpPr>
        <p:spPr>
          <a:xfrm>
            <a:off x="601663" y="1828800"/>
            <a:ext cx="7945200" cy="4673600"/>
          </a:xfrm>
          <a:prstGeom prst="rect">
            <a:avLst/>
          </a:prstGeom>
        </p:spPr>
        <p:txBody>
          <a:bodyPr lIns="0" tIns="0" rIns="0" bIns="0"/>
          <a:lstStyle>
            <a:lvl1pPr marL="0" indent="0">
              <a:buClr>
                <a:schemeClr val="bg1"/>
              </a:buClr>
              <a:buFont typeface="Arial" panose="020B0604020202020204" pitchFamily="34" charset="0"/>
              <a:buNone/>
              <a:defRPr>
                <a:solidFill>
                  <a:schemeClr val="bg1"/>
                </a:solidFill>
              </a:defRPr>
            </a:lvl1pPr>
            <a:lvl2pPr>
              <a:buClr>
                <a:schemeClr val="bg1"/>
              </a:buClr>
              <a:defRPr>
                <a:solidFill>
                  <a:schemeClr val="bg1"/>
                </a:solidFill>
              </a:defRPr>
            </a:lvl2pPr>
            <a:lvl3pPr marL="715963" indent="-357188">
              <a:buClr>
                <a:schemeClr val="bg1"/>
              </a:buClr>
              <a:buFont typeface="Segoe UI" panose="020B0502040204020203" pitchFamily="34" charset="0"/>
              <a:buChar char="̵"/>
              <a:defRPr>
                <a:solidFill>
                  <a:schemeClr val="bg1"/>
                </a:solidFill>
              </a:defRPr>
            </a:lvl3pPr>
            <a:lvl4pPr>
              <a:buClr>
                <a:schemeClr val="bg1"/>
              </a:buClr>
              <a:defRPr>
                <a:solidFill>
                  <a:schemeClr val="bg1"/>
                </a:solidFill>
              </a:defRPr>
            </a:lvl4pPr>
            <a:lvl5pPr marL="1431925" indent="-357188">
              <a:buClr>
                <a:schemeClr val="bg1"/>
              </a:buClr>
              <a:buFont typeface="Segoe UI" panose="020B0502040204020203" pitchFamily="34" charset="0"/>
              <a:buChar cha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4515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ody - 2 column dark">
    <p:bg>
      <p:bgPr>
        <a:solidFill>
          <a:schemeClr val="tx2"/>
        </a:solidFill>
        <a:effectLst/>
      </p:bgPr>
    </p:bg>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600079" y="1828801"/>
            <a:ext cx="3857623" cy="4648201"/>
          </a:xfrm>
          <a:prstGeom prst="rect">
            <a:avLst/>
          </a:prstGeom>
        </p:spPr>
        <p:txBody>
          <a:bodyPr lIns="0" tIns="0" rIns="0" bIns="0">
            <a:noAutofit/>
          </a:bodyPr>
          <a:lstStyle>
            <a:lvl1pPr>
              <a:buClr>
                <a:schemeClr val="bg1"/>
              </a:buClr>
              <a:defRPr sz="1600" b="0">
                <a:solidFill>
                  <a:schemeClr val="bg1"/>
                </a:solidFill>
                <a:latin typeface="+mn-lt"/>
              </a:defRPr>
            </a:lvl1pPr>
            <a:lvl2pPr>
              <a:buClr>
                <a:schemeClr val="bg1"/>
              </a:buClr>
              <a:defRPr sz="1600" b="0">
                <a:solidFill>
                  <a:schemeClr val="bg1"/>
                </a:solidFill>
                <a:latin typeface="+mn-lt"/>
              </a:defRPr>
            </a:lvl2pPr>
            <a:lvl3pPr marL="715963" indent="-357188">
              <a:buClr>
                <a:schemeClr val="bg1"/>
              </a:buClr>
              <a:buFont typeface="Segoe UI" panose="020B0502040204020203" pitchFamily="34" charset="0"/>
              <a:buChar char="̵"/>
              <a:defRPr sz="1600" b="0">
                <a:solidFill>
                  <a:schemeClr val="bg1"/>
                </a:solidFill>
                <a:latin typeface="+mn-lt"/>
              </a:defRPr>
            </a:lvl3pPr>
            <a:lvl4pPr>
              <a:buClr>
                <a:schemeClr val="bg1"/>
              </a:buClr>
              <a:defRPr sz="1600" b="0">
                <a:solidFill>
                  <a:schemeClr val="bg1"/>
                </a:solidFill>
                <a:latin typeface="+mn-lt"/>
              </a:defRPr>
            </a:lvl4pPr>
            <a:lvl5pPr marL="1431925" indent="-357188">
              <a:buClr>
                <a:schemeClr val="bg1"/>
              </a:buClr>
              <a:buFont typeface="Segoe UI" panose="020B0502040204020203" pitchFamily="34" charset="0"/>
              <a:buChar char="̵"/>
              <a:defRPr sz="1600" b="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6"/>
          <p:cNvSpPr>
            <a:spLocks noGrp="1"/>
          </p:cNvSpPr>
          <p:nvPr>
            <p:ph sz="quarter" idx="12"/>
          </p:nvPr>
        </p:nvSpPr>
        <p:spPr>
          <a:xfrm>
            <a:off x="4689478" y="1828801"/>
            <a:ext cx="3857623" cy="4648201"/>
          </a:xfrm>
          <a:prstGeom prst="rect">
            <a:avLst/>
          </a:prstGeom>
        </p:spPr>
        <p:txBody>
          <a:bodyPr lIns="0" tIns="0" rIns="0" bIns="0">
            <a:noAutofit/>
          </a:bodyPr>
          <a:lstStyle>
            <a:lvl1pPr>
              <a:buClr>
                <a:schemeClr val="bg1"/>
              </a:buClr>
              <a:defRPr sz="1600" b="0">
                <a:solidFill>
                  <a:schemeClr val="bg1"/>
                </a:solidFill>
                <a:latin typeface="+mn-lt"/>
              </a:defRPr>
            </a:lvl1pPr>
            <a:lvl2pPr>
              <a:buClr>
                <a:schemeClr val="bg1"/>
              </a:buClr>
              <a:defRPr sz="1600" b="0">
                <a:solidFill>
                  <a:schemeClr val="bg1"/>
                </a:solidFill>
                <a:latin typeface="+mn-lt"/>
              </a:defRPr>
            </a:lvl2pPr>
            <a:lvl3pPr marL="715963" indent="-357188">
              <a:buClr>
                <a:schemeClr val="bg1"/>
              </a:buClr>
              <a:buFont typeface="Segoe UI" panose="020B0502040204020203" pitchFamily="34" charset="0"/>
              <a:buChar char="̵"/>
              <a:defRPr sz="1600" b="0">
                <a:solidFill>
                  <a:schemeClr val="bg1"/>
                </a:solidFill>
                <a:latin typeface="+mn-lt"/>
              </a:defRPr>
            </a:lvl3pPr>
            <a:lvl4pPr>
              <a:buClr>
                <a:schemeClr val="bg1"/>
              </a:buClr>
              <a:defRPr sz="1600" b="0">
                <a:solidFill>
                  <a:schemeClr val="bg1"/>
                </a:solidFill>
                <a:latin typeface="+mn-lt"/>
              </a:defRPr>
            </a:lvl4pPr>
            <a:lvl5pPr marL="1431925" indent="-357188">
              <a:buClr>
                <a:schemeClr val="bg1"/>
              </a:buClr>
              <a:buFont typeface="Segoe UI" panose="020B0502040204020203" pitchFamily="34" charset="0"/>
              <a:buChar char="̵"/>
              <a:defRPr sz="1600" b="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noAutofit/>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514600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dy - 3 column dark">
    <p:bg>
      <p:bgPr>
        <a:solidFill>
          <a:schemeClr val="tx2"/>
        </a:solidFill>
        <a:effectLst/>
      </p:bgPr>
    </p:bg>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600077" y="1841500"/>
            <a:ext cx="2486024" cy="4635501"/>
          </a:xfrm>
          <a:prstGeom prst="rect">
            <a:avLst/>
          </a:prstGeom>
        </p:spPr>
        <p:txBody>
          <a:bodyPr lIns="0" tIns="0" rIns="0" bIns="0" numCol="1">
            <a:noAutofit/>
          </a:bodyPr>
          <a:lstStyle>
            <a:lvl1pPr>
              <a:buClr>
                <a:schemeClr val="bg1"/>
              </a:buClr>
              <a:defRPr sz="1600" b="0">
                <a:solidFill>
                  <a:schemeClr val="bg1"/>
                </a:solidFill>
                <a:latin typeface="+mn-lt"/>
              </a:defRPr>
            </a:lvl1pPr>
            <a:lvl2pPr>
              <a:buClr>
                <a:schemeClr val="bg1"/>
              </a:buClr>
              <a:defRPr sz="1600" b="0">
                <a:solidFill>
                  <a:schemeClr val="bg1"/>
                </a:solidFill>
                <a:latin typeface="+mn-lt"/>
              </a:defRPr>
            </a:lvl2pPr>
            <a:lvl3pPr marL="715963" indent="-357188">
              <a:buClr>
                <a:schemeClr val="bg1"/>
              </a:buClr>
              <a:buFont typeface="Segoe UI" panose="020B0502040204020203" pitchFamily="34" charset="0"/>
              <a:buChar char="̵"/>
              <a:defRPr sz="1600" b="0">
                <a:solidFill>
                  <a:schemeClr val="bg1"/>
                </a:solidFill>
                <a:latin typeface="+mn-lt"/>
              </a:defRPr>
            </a:lvl3pPr>
            <a:lvl4pPr>
              <a:buClr>
                <a:schemeClr val="bg1"/>
              </a:buClr>
              <a:defRPr sz="1600" b="0">
                <a:solidFill>
                  <a:schemeClr val="bg1"/>
                </a:solidFill>
                <a:latin typeface="+mn-lt"/>
              </a:defRPr>
            </a:lvl4pPr>
            <a:lvl5pPr marL="1431925" indent="-357188">
              <a:buClr>
                <a:schemeClr val="bg1"/>
              </a:buClr>
              <a:buFont typeface="Segoe UI" panose="020B0502040204020203" pitchFamily="34" charset="0"/>
              <a:buChar char="̵"/>
              <a:defRPr sz="1600" b="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6"/>
          <p:cNvSpPr>
            <a:spLocks noGrp="1"/>
          </p:cNvSpPr>
          <p:nvPr>
            <p:ph sz="quarter" idx="12"/>
          </p:nvPr>
        </p:nvSpPr>
        <p:spPr>
          <a:xfrm>
            <a:off x="3336927" y="1841500"/>
            <a:ext cx="2486024" cy="4635501"/>
          </a:xfrm>
          <a:prstGeom prst="rect">
            <a:avLst/>
          </a:prstGeom>
        </p:spPr>
        <p:txBody>
          <a:bodyPr lIns="0" tIns="0" rIns="0" bIns="0" numCol="1">
            <a:noAutofit/>
          </a:bodyPr>
          <a:lstStyle>
            <a:lvl1pPr>
              <a:buClr>
                <a:schemeClr val="bg1"/>
              </a:buClr>
              <a:defRPr sz="1600" b="0">
                <a:solidFill>
                  <a:schemeClr val="bg1"/>
                </a:solidFill>
                <a:latin typeface="+mn-lt"/>
              </a:defRPr>
            </a:lvl1pPr>
            <a:lvl2pPr>
              <a:buClr>
                <a:schemeClr val="bg1"/>
              </a:buClr>
              <a:defRPr sz="1600" b="0">
                <a:solidFill>
                  <a:schemeClr val="bg1"/>
                </a:solidFill>
                <a:latin typeface="+mn-lt"/>
              </a:defRPr>
            </a:lvl2pPr>
            <a:lvl3pPr marL="715963" indent="-357188">
              <a:buClr>
                <a:schemeClr val="bg1"/>
              </a:buClr>
              <a:buFont typeface="Segoe UI" panose="020B0502040204020203" pitchFamily="34" charset="0"/>
              <a:buChar char="̵"/>
              <a:defRPr sz="1600" b="0">
                <a:solidFill>
                  <a:schemeClr val="bg1"/>
                </a:solidFill>
                <a:latin typeface="+mn-lt"/>
              </a:defRPr>
            </a:lvl3pPr>
            <a:lvl4pPr>
              <a:buClr>
                <a:schemeClr val="bg1"/>
              </a:buClr>
              <a:defRPr sz="1600" b="0">
                <a:solidFill>
                  <a:schemeClr val="bg1"/>
                </a:solidFill>
                <a:latin typeface="+mn-lt"/>
              </a:defRPr>
            </a:lvl4pPr>
            <a:lvl5pPr marL="1431925" indent="-357188">
              <a:buClr>
                <a:schemeClr val="bg1"/>
              </a:buClr>
              <a:buFont typeface="Segoe UI" panose="020B0502040204020203" pitchFamily="34" charset="0"/>
              <a:buChar char="̵"/>
              <a:defRPr sz="1600" b="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6"/>
          <p:cNvSpPr>
            <a:spLocks noGrp="1"/>
          </p:cNvSpPr>
          <p:nvPr>
            <p:ph sz="quarter" idx="13"/>
          </p:nvPr>
        </p:nvSpPr>
        <p:spPr>
          <a:xfrm>
            <a:off x="6067427" y="1841500"/>
            <a:ext cx="2490786" cy="4635501"/>
          </a:xfrm>
          <a:prstGeom prst="rect">
            <a:avLst/>
          </a:prstGeom>
        </p:spPr>
        <p:txBody>
          <a:bodyPr lIns="0" tIns="0" rIns="0" bIns="0" numCol="1">
            <a:noAutofit/>
          </a:bodyPr>
          <a:lstStyle>
            <a:lvl1pPr>
              <a:buClr>
                <a:schemeClr val="bg1"/>
              </a:buClr>
              <a:defRPr sz="1600" b="0">
                <a:solidFill>
                  <a:schemeClr val="bg1"/>
                </a:solidFill>
                <a:latin typeface="+mn-lt"/>
              </a:defRPr>
            </a:lvl1pPr>
            <a:lvl2pPr>
              <a:buClr>
                <a:schemeClr val="bg1"/>
              </a:buClr>
              <a:defRPr sz="1600" b="0">
                <a:solidFill>
                  <a:schemeClr val="bg1"/>
                </a:solidFill>
                <a:latin typeface="+mn-lt"/>
              </a:defRPr>
            </a:lvl2pPr>
            <a:lvl3pPr marL="715963" indent="-357188">
              <a:buClr>
                <a:schemeClr val="bg1"/>
              </a:buClr>
              <a:buFont typeface="Segoe UI" panose="020B0502040204020203" pitchFamily="34" charset="0"/>
              <a:buChar char="̵"/>
              <a:defRPr sz="1600" b="0">
                <a:solidFill>
                  <a:schemeClr val="bg1"/>
                </a:solidFill>
                <a:latin typeface="+mn-lt"/>
              </a:defRPr>
            </a:lvl3pPr>
            <a:lvl4pPr>
              <a:buClr>
                <a:schemeClr val="bg1"/>
              </a:buClr>
              <a:defRPr sz="1600" b="0">
                <a:solidFill>
                  <a:schemeClr val="bg1"/>
                </a:solidFill>
                <a:latin typeface="+mn-lt"/>
              </a:defRPr>
            </a:lvl4pPr>
            <a:lvl5pPr marL="1431925" indent="-357188">
              <a:buClr>
                <a:schemeClr val="bg1"/>
              </a:buClr>
              <a:buFont typeface="Segoe UI" panose="020B0502040204020203" pitchFamily="34" charset="0"/>
              <a:buChar char="̵"/>
              <a:defRPr sz="1600" b="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noAutofit/>
          </a:bodyPr>
          <a:lstStyle>
            <a:lvl1pPr>
              <a:buClr>
                <a:schemeClr val="bg1"/>
              </a:buCl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237554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C Cover 3 ">
    <p:bg>
      <p:bgPr>
        <a:solidFill>
          <a:schemeClr val="tx2"/>
        </a:solidFill>
        <a:effectLst/>
      </p:bgPr>
    </p:bg>
    <p:spTree>
      <p:nvGrpSpPr>
        <p:cNvPr id="1" name=""/>
        <p:cNvGrpSpPr/>
        <p:nvPr/>
      </p:nvGrpSpPr>
      <p:grpSpPr>
        <a:xfrm>
          <a:off x="0" y="0"/>
          <a:ext cx="0" cy="0"/>
          <a:chOff x="0" y="0"/>
          <a:chExt cx="0" cy="0"/>
        </a:xfrm>
      </p:grpSpPr>
      <p:sp>
        <p:nvSpPr>
          <p:cNvPr id="28" name="Text Placeholder 26"/>
          <p:cNvSpPr>
            <a:spLocks noGrp="1"/>
          </p:cNvSpPr>
          <p:nvPr>
            <p:ph type="body" sz="quarter" idx="11"/>
          </p:nvPr>
        </p:nvSpPr>
        <p:spPr>
          <a:xfrm>
            <a:off x="3483251" y="4240468"/>
            <a:ext cx="5064076" cy="677333"/>
          </a:xfrm>
          <a:prstGeom prst="rect">
            <a:avLst/>
          </a:prstGeom>
        </p:spPr>
        <p:txBody>
          <a:bodyPr lIns="0" tIns="0" rIns="0" bIns="0">
            <a:noAutofit/>
          </a:bodyPr>
          <a:lstStyle>
            <a:lvl1pPr>
              <a:spcBef>
                <a:spcPts val="0"/>
              </a:spcBef>
              <a:spcAft>
                <a:spcPts val="0"/>
              </a:spcAft>
              <a:defRPr sz="1000">
                <a:solidFill>
                  <a:schemeClr val="bg1"/>
                </a:solidFill>
              </a:defRPr>
            </a:lvl1pPr>
          </a:lstStyle>
          <a:p>
            <a:pPr lvl="0"/>
            <a:r>
              <a:rPr lang="en-US" dirty="0"/>
              <a:t>Click to edit Master text styles</a:t>
            </a:r>
          </a:p>
        </p:txBody>
      </p:sp>
      <p:sp>
        <p:nvSpPr>
          <p:cNvPr id="29" name="Title 28"/>
          <p:cNvSpPr>
            <a:spLocks noGrp="1"/>
          </p:cNvSpPr>
          <p:nvPr>
            <p:ph type="title"/>
          </p:nvPr>
        </p:nvSpPr>
        <p:spPr>
          <a:xfrm>
            <a:off x="3494363" y="1610919"/>
            <a:ext cx="5051150" cy="1711401"/>
          </a:xfrm>
        </p:spPr>
        <p:txBody>
          <a:bodyPr>
            <a:noAutofit/>
          </a:bodyPr>
          <a:lstStyle>
            <a:lvl1pPr>
              <a:lnSpc>
                <a:spcPts val="2800"/>
              </a:lnSpc>
              <a:defRPr sz="2800">
                <a:solidFill>
                  <a:schemeClr val="bg1"/>
                </a:solidFill>
              </a:defRPr>
            </a:lvl1pPr>
          </a:lstStyle>
          <a:p>
            <a:r>
              <a:rPr lang="en-US" dirty="0"/>
              <a:t>Click to edit Master title style</a:t>
            </a:r>
          </a:p>
        </p:txBody>
      </p:sp>
      <p:sp>
        <p:nvSpPr>
          <p:cNvPr id="33" name="Text Placeholder 32"/>
          <p:cNvSpPr>
            <a:spLocks noGrp="1"/>
          </p:cNvSpPr>
          <p:nvPr>
            <p:ph type="body" sz="quarter" idx="12"/>
          </p:nvPr>
        </p:nvSpPr>
        <p:spPr>
          <a:xfrm>
            <a:off x="3494362" y="3546203"/>
            <a:ext cx="5033427" cy="601133"/>
          </a:xfrm>
          <a:prstGeom prst="rect">
            <a:avLst/>
          </a:prstGeom>
        </p:spPr>
        <p:txBody>
          <a:bodyPr lIns="0" tIns="0" rIns="0" bIns="0">
            <a:noAutofit/>
          </a:bodyPr>
          <a:lstStyle>
            <a:lvl1pPr>
              <a:defRPr>
                <a:solidFill>
                  <a:schemeClr val="bg1"/>
                </a:solidFill>
              </a:defRPr>
            </a:lvl1pPr>
          </a:lstStyle>
          <a:p>
            <a:pPr lvl="0"/>
            <a:r>
              <a:rPr lang="en-US" dirty="0"/>
              <a:t>Click to edit Master text styles</a:t>
            </a:r>
          </a:p>
        </p:txBody>
      </p:sp>
      <p:sp>
        <p:nvSpPr>
          <p:cNvPr id="10" name="Date Placeholder 3"/>
          <p:cNvSpPr txBox="1">
            <a:spLocks/>
          </p:cNvSpPr>
          <p:nvPr userDrawn="1"/>
        </p:nvSpPr>
        <p:spPr>
          <a:xfrm>
            <a:off x="3514309" y="6248944"/>
            <a:ext cx="1269504" cy="216024"/>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900" dirty="0">
                <a:solidFill>
                  <a:schemeClr val="bg1"/>
                </a:solidFill>
                <a:latin typeface="Segoe UI" panose="020B0502040204020203" pitchFamily="34" charset="0"/>
                <a:ea typeface="Segoe UI" panose="020B0502040204020203" pitchFamily="34" charset="0"/>
                <a:cs typeface="Segoe UI" panose="020B0502040204020203" pitchFamily="34" charset="0"/>
              </a:rPr>
              <a:t>www.</a:t>
            </a:r>
            <a:r>
              <a:rPr lang="en-AU" sz="900" b="1" dirty="0">
                <a:solidFill>
                  <a:schemeClr val="bg1"/>
                </a:solidFill>
                <a:latin typeface="Segoe UI" panose="020B0502040204020203" pitchFamily="34" charset="0"/>
                <a:ea typeface="Segoe UI" panose="020B0502040204020203" pitchFamily="34" charset="0"/>
                <a:cs typeface="Segoe UI" panose="020B0502040204020203" pitchFamily="34" charset="0"/>
              </a:rPr>
              <a:t>advisian</a:t>
            </a:r>
            <a:r>
              <a:rPr lang="en-AU" sz="900" dirty="0">
                <a:solidFill>
                  <a:schemeClr val="bg1"/>
                </a:solidFill>
                <a:latin typeface="Segoe UI" panose="020B0502040204020203" pitchFamily="34" charset="0"/>
                <a:ea typeface="Segoe UI" panose="020B0502040204020203" pitchFamily="34" charset="0"/>
                <a:cs typeface="Segoe UI" panose="020B0502040204020203" pitchFamily="34" charset="0"/>
              </a:rPr>
              <a:t>.com</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9365" y="5346848"/>
            <a:ext cx="1227613" cy="423269"/>
          </a:xfrm>
          <a:prstGeom prst="rect">
            <a:avLst/>
          </a:prstGeom>
          <a:noFill/>
          <a:ln>
            <a:noFill/>
          </a:ln>
        </p:spPr>
      </p:pic>
      <p:sp>
        <p:nvSpPr>
          <p:cNvPr id="5" name="Picture Placeholder 4"/>
          <p:cNvSpPr>
            <a:spLocks noGrp="1"/>
          </p:cNvSpPr>
          <p:nvPr>
            <p:ph type="pic" sz="quarter" idx="17"/>
          </p:nvPr>
        </p:nvSpPr>
        <p:spPr>
          <a:xfrm>
            <a:off x="-99060" y="-82550"/>
            <a:ext cx="4039870" cy="7056608"/>
          </a:xfrm>
          <a:custGeom>
            <a:avLst/>
            <a:gdLst>
              <a:gd name="connsiteX0" fmla="*/ 0 w 5271134"/>
              <a:gd name="connsiteY0" fmla="*/ 0 h 7000876"/>
              <a:gd name="connsiteX1" fmla="*/ 5271134 w 5271134"/>
              <a:gd name="connsiteY1" fmla="*/ 0 h 7000876"/>
              <a:gd name="connsiteX2" fmla="*/ 5271134 w 5271134"/>
              <a:gd name="connsiteY2" fmla="*/ 7000876 h 7000876"/>
              <a:gd name="connsiteX3" fmla="*/ 0 w 5271134"/>
              <a:gd name="connsiteY3" fmla="*/ 7000876 h 7000876"/>
              <a:gd name="connsiteX4" fmla="*/ 0 w 5271134"/>
              <a:gd name="connsiteY4" fmla="*/ 0 h 7000876"/>
              <a:gd name="connsiteX0" fmla="*/ 0 w 5271134"/>
              <a:gd name="connsiteY0" fmla="*/ 0 h 7002780"/>
              <a:gd name="connsiteX1" fmla="*/ 5271134 w 5271134"/>
              <a:gd name="connsiteY1" fmla="*/ 0 h 7002780"/>
              <a:gd name="connsiteX2" fmla="*/ 5271134 w 5271134"/>
              <a:gd name="connsiteY2" fmla="*/ 7000876 h 7002780"/>
              <a:gd name="connsiteX3" fmla="*/ 2619374 w 5271134"/>
              <a:gd name="connsiteY3" fmla="*/ 7002780 h 7002780"/>
              <a:gd name="connsiteX4" fmla="*/ 0 w 5271134"/>
              <a:gd name="connsiteY4" fmla="*/ 7000876 h 7002780"/>
              <a:gd name="connsiteX5" fmla="*/ 0 w 5271134"/>
              <a:gd name="connsiteY5" fmla="*/ 0 h 7002780"/>
              <a:gd name="connsiteX0" fmla="*/ 0 w 5271134"/>
              <a:gd name="connsiteY0" fmla="*/ 0 h 7002780"/>
              <a:gd name="connsiteX1" fmla="*/ 5271134 w 5271134"/>
              <a:gd name="connsiteY1" fmla="*/ 0 h 7002780"/>
              <a:gd name="connsiteX2" fmla="*/ 2619374 w 5271134"/>
              <a:gd name="connsiteY2" fmla="*/ 7002780 h 7002780"/>
              <a:gd name="connsiteX3" fmla="*/ 0 w 5271134"/>
              <a:gd name="connsiteY3" fmla="*/ 7000876 h 7002780"/>
              <a:gd name="connsiteX4" fmla="*/ 0 w 5271134"/>
              <a:gd name="connsiteY4" fmla="*/ 0 h 7002780"/>
              <a:gd name="connsiteX0" fmla="*/ 0 w 5271134"/>
              <a:gd name="connsiteY0" fmla="*/ 5862 h 7008642"/>
              <a:gd name="connsiteX1" fmla="*/ 3985601 w 5271134"/>
              <a:gd name="connsiteY1" fmla="*/ 0 h 7008642"/>
              <a:gd name="connsiteX2" fmla="*/ 5271134 w 5271134"/>
              <a:gd name="connsiteY2" fmla="*/ 5862 h 7008642"/>
              <a:gd name="connsiteX3" fmla="*/ 2619374 w 5271134"/>
              <a:gd name="connsiteY3" fmla="*/ 7008642 h 7008642"/>
              <a:gd name="connsiteX4" fmla="*/ 0 w 5271134"/>
              <a:gd name="connsiteY4" fmla="*/ 7006738 h 7008642"/>
              <a:gd name="connsiteX5" fmla="*/ 0 w 5271134"/>
              <a:gd name="connsiteY5" fmla="*/ 5862 h 7008642"/>
              <a:gd name="connsiteX0" fmla="*/ 0 w 5271134"/>
              <a:gd name="connsiteY0" fmla="*/ 5862 h 7008642"/>
              <a:gd name="connsiteX1" fmla="*/ 3921124 w 5271134"/>
              <a:gd name="connsiteY1" fmla="*/ 0 h 7008642"/>
              <a:gd name="connsiteX2" fmla="*/ 3985601 w 5271134"/>
              <a:gd name="connsiteY2" fmla="*/ 0 h 7008642"/>
              <a:gd name="connsiteX3" fmla="*/ 5271134 w 5271134"/>
              <a:gd name="connsiteY3" fmla="*/ 5862 h 7008642"/>
              <a:gd name="connsiteX4" fmla="*/ 2619374 w 5271134"/>
              <a:gd name="connsiteY4" fmla="*/ 7008642 h 7008642"/>
              <a:gd name="connsiteX5" fmla="*/ 0 w 5271134"/>
              <a:gd name="connsiteY5" fmla="*/ 7006738 h 7008642"/>
              <a:gd name="connsiteX6" fmla="*/ 0 w 5271134"/>
              <a:gd name="connsiteY6" fmla="*/ 5862 h 7008642"/>
              <a:gd name="connsiteX0" fmla="*/ 0 w 5271134"/>
              <a:gd name="connsiteY0" fmla="*/ 5862 h 7008642"/>
              <a:gd name="connsiteX1" fmla="*/ 3885405 w 5271134"/>
              <a:gd name="connsiteY1" fmla="*/ 1099 h 7008642"/>
              <a:gd name="connsiteX2" fmla="*/ 3921124 w 5271134"/>
              <a:gd name="connsiteY2" fmla="*/ 0 h 7008642"/>
              <a:gd name="connsiteX3" fmla="*/ 3985601 w 5271134"/>
              <a:gd name="connsiteY3" fmla="*/ 0 h 7008642"/>
              <a:gd name="connsiteX4" fmla="*/ 5271134 w 5271134"/>
              <a:gd name="connsiteY4" fmla="*/ 5862 h 7008642"/>
              <a:gd name="connsiteX5" fmla="*/ 2619374 w 5271134"/>
              <a:gd name="connsiteY5" fmla="*/ 7008642 h 7008642"/>
              <a:gd name="connsiteX6" fmla="*/ 0 w 5271134"/>
              <a:gd name="connsiteY6" fmla="*/ 7006738 h 7008642"/>
              <a:gd name="connsiteX7" fmla="*/ 0 w 5271134"/>
              <a:gd name="connsiteY7" fmla="*/ 5862 h 7008642"/>
              <a:gd name="connsiteX0" fmla="*/ 0 w 5271134"/>
              <a:gd name="connsiteY0" fmla="*/ 5862 h 7056120"/>
              <a:gd name="connsiteX1" fmla="*/ 3885405 w 5271134"/>
              <a:gd name="connsiteY1" fmla="*/ 1099 h 7056120"/>
              <a:gd name="connsiteX2" fmla="*/ 1299844 w 5271134"/>
              <a:gd name="connsiteY2" fmla="*/ 7056120 h 7056120"/>
              <a:gd name="connsiteX3" fmla="*/ 3985601 w 5271134"/>
              <a:gd name="connsiteY3" fmla="*/ 0 h 7056120"/>
              <a:gd name="connsiteX4" fmla="*/ 5271134 w 5271134"/>
              <a:gd name="connsiteY4" fmla="*/ 5862 h 7056120"/>
              <a:gd name="connsiteX5" fmla="*/ 2619374 w 5271134"/>
              <a:gd name="connsiteY5" fmla="*/ 7008642 h 7056120"/>
              <a:gd name="connsiteX6" fmla="*/ 0 w 5271134"/>
              <a:gd name="connsiteY6" fmla="*/ 7006738 h 7056120"/>
              <a:gd name="connsiteX7" fmla="*/ 0 w 5271134"/>
              <a:gd name="connsiteY7" fmla="*/ 5862 h 7056120"/>
              <a:gd name="connsiteX0" fmla="*/ 0 w 5271134"/>
              <a:gd name="connsiteY0" fmla="*/ 5862 h 7056120"/>
              <a:gd name="connsiteX1" fmla="*/ 3885405 w 5271134"/>
              <a:gd name="connsiteY1" fmla="*/ 1099 h 7056120"/>
              <a:gd name="connsiteX2" fmla="*/ 3799204 w 5271134"/>
              <a:gd name="connsiteY2" fmla="*/ 234462 h 7056120"/>
              <a:gd name="connsiteX3" fmla="*/ 1299844 w 5271134"/>
              <a:gd name="connsiteY3" fmla="*/ 7056120 h 7056120"/>
              <a:gd name="connsiteX4" fmla="*/ 3985601 w 5271134"/>
              <a:gd name="connsiteY4" fmla="*/ 0 h 7056120"/>
              <a:gd name="connsiteX5" fmla="*/ 5271134 w 5271134"/>
              <a:gd name="connsiteY5" fmla="*/ 5862 h 7056120"/>
              <a:gd name="connsiteX6" fmla="*/ 2619374 w 5271134"/>
              <a:gd name="connsiteY6" fmla="*/ 7008642 h 7056120"/>
              <a:gd name="connsiteX7" fmla="*/ 0 w 5271134"/>
              <a:gd name="connsiteY7" fmla="*/ 7006738 h 7056120"/>
              <a:gd name="connsiteX8" fmla="*/ 0 w 5271134"/>
              <a:gd name="connsiteY8" fmla="*/ 5862 h 7056120"/>
              <a:gd name="connsiteX0" fmla="*/ 0 w 5271134"/>
              <a:gd name="connsiteY0" fmla="*/ 5862 h 7056120"/>
              <a:gd name="connsiteX1" fmla="*/ 3885405 w 5271134"/>
              <a:gd name="connsiteY1" fmla="*/ 1099 h 7056120"/>
              <a:gd name="connsiteX2" fmla="*/ 1208404 w 5271134"/>
              <a:gd name="connsiteY2" fmla="*/ 7046742 h 7056120"/>
              <a:gd name="connsiteX3" fmla="*/ 1299844 w 5271134"/>
              <a:gd name="connsiteY3" fmla="*/ 7056120 h 7056120"/>
              <a:gd name="connsiteX4" fmla="*/ 3985601 w 5271134"/>
              <a:gd name="connsiteY4" fmla="*/ 0 h 7056120"/>
              <a:gd name="connsiteX5" fmla="*/ 5271134 w 5271134"/>
              <a:gd name="connsiteY5" fmla="*/ 5862 h 7056120"/>
              <a:gd name="connsiteX6" fmla="*/ 2619374 w 5271134"/>
              <a:gd name="connsiteY6" fmla="*/ 7008642 h 7056120"/>
              <a:gd name="connsiteX7" fmla="*/ 0 w 5271134"/>
              <a:gd name="connsiteY7" fmla="*/ 7006738 h 7056120"/>
              <a:gd name="connsiteX8" fmla="*/ 0 w 5271134"/>
              <a:gd name="connsiteY8" fmla="*/ 5862 h 7056120"/>
              <a:gd name="connsiteX0" fmla="*/ 0 w 5271134"/>
              <a:gd name="connsiteY0" fmla="*/ 5862 h 7056120"/>
              <a:gd name="connsiteX1" fmla="*/ 3908265 w 5271134"/>
              <a:gd name="connsiteY1" fmla="*/ 8719 h 7056120"/>
              <a:gd name="connsiteX2" fmla="*/ 1208404 w 5271134"/>
              <a:gd name="connsiteY2" fmla="*/ 7046742 h 7056120"/>
              <a:gd name="connsiteX3" fmla="*/ 1299844 w 5271134"/>
              <a:gd name="connsiteY3" fmla="*/ 7056120 h 7056120"/>
              <a:gd name="connsiteX4" fmla="*/ 3985601 w 5271134"/>
              <a:gd name="connsiteY4" fmla="*/ 0 h 7056120"/>
              <a:gd name="connsiteX5" fmla="*/ 5271134 w 5271134"/>
              <a:gd name="connsiteY5" fmla="*/ 5862 h 7056120"/>
              <a:gd name="connsiteX6" fmla="*/ 2619374 w 5271134"/>
              <a:gd name="connsiteY6" fmla="*/ 7008642 h 7056120"/>
              <a:gd name="connsiteX7" fmla="*/ 0 w 5271134"/>
              <a:gd name="connsiteY7" fmla="*/ 7006738 h 7056120"/>
              <a:gd name="connsiteX8" fmla="*/ 0 w 5271134"/>
              <a:gd name="connsiteY8" fmla="*/ 5862 h 7056120"/>
              <a:gd name="connsiteX0" fmla="*/ 0 w 5271134"/>
              <a:gd name="connsiteY0" fmla="*/ 5862 h 7056120"/>
              <a:gd name="connsiteX1" fmla="*/ 3908265 w 5271134"/>
              <a:gd name="connsiteY1" fmla="*/ 8719 h 7056120"/>
              <a:gd name="connsiteX2" fmla="*/ 1231264 w 5271134"/>
              <a:gd name="connsiteY2" fmla="*/ 7046742 h 7056120"/>
              <a:gd name="connsiteX3" fmla="*/ 1299844 w 5271134"/>
              <a:gd name="connsiteY3" fmla="*/ 7056120 h 7056120"/>
              <a:gd name="connsiteX4" fmla="*/ 3985601 w 5271134"/>
              <a:gd name="connsiteY4" fmla="*/ 0 h 7056120"/>
              <a:gd name="connsiteX5" fmla="*/ 5271134 w 5271134"/>
              <a:gd name="connsiteY5" fmla="*/ 5862 h 7056120"/>
              <a:gd name="connsiteX6" fmla="*/ 2619374 w 5271134"/>
              <a:gd name="connsiteY6" fmla="*/ 7008642 h 7056120"/>
              <a:gd name="connsiteX7" fmla="*/ 0 w 5271134"/>
              <a:gd name="connsiteY7" fmla="*/ 7006738 h 7056120"/>
              <a:gd name="connsiteX8" fmla="*/ 0 w 5271134"/>
              <a:gd name="connsiteY8" fmla="*/ 5862 h 7056120"/>
              <a:gd name="connsiteX0" fmla="*/ 0 w 5271134"/>
              <a:gd name="connsiteY0" fmla="*/ 6350 h 7056608"/>
              <a:gd name="connsiteX1" fmla="*/ 2670174 w 5271134"/>
              <a:gd name="connsiteY1" fmla="*/ 0 h 7056608"/>
              <a:gd name="connsiteX2" fmla="*/ 3908265 w 5271134"/>
              <a:gd name="connsiteY2" fmla="*/ 9207 h 7056608"/>
              <a:gd name="connsiteX3" fmla="*/ 1231264 w 5271134"/>
              <a:gd name="connsiteY3" fmla="*/ 7047230 h 7056608"/>
              <a:gd name="connsiteX4" fmla="*/ 1299844 w 5271134"/>
              <a:gd name="connsiteY4" fmla="*/ 7056608 h 7056608"/>
              <a:gd name="connsiteX5" fmla="*/ 3985601 w 5271134"/>
              <a:gd name="connsiteY5" fmla="*/ 488 h 7056608"/>
              <a:gd name="connsiteX6" fmla="*/ 5271134 w 5271134"/>
              <a:gd name="connsiteY6" fmla="*/ 6350 h 7056608"/>
              <a:gd name="connsiteX7" fmla="*/ 2619374 w 5271134"/>
              <a:gd name="connsiteY7" fmla="*/ 7009130 h 7056608"/>
              <a:gd name="connsiteX8" fmla="*/ 0 w 5271134"/>
              <a:gd name="connsiteY8" fmla="*/ 7007226 h 7056608"/>
              <a:gd name="connsiteX9" fmla="*/ 0 w 5271134"/>
              <a:gd name="connsiteY9" fmla="*/ 6350 h 7056608"/>
              <a:gd name="connsiteX0" fmla="*/ 0 w 5271134"/>
              <a:gd name="connsiteY0" fmla="*/ 6350 h 7056608"/>
              <a:gd name="connsiteX1" fmla="*/ 2581274 w 5271134"/>
              <a:gd name="connsiteY1" fmla="*/ 0 h 7056608"/>
              <a:gd name="connsiteX2" fmla="*/ 2670174 w 5271134"/>
              <a:gd name="connsiteY2" fmla="*/ 0 h 7056608"/>
              <a:gd name="connsiteX3" fmla="*/ 3908265 w 5271134"/>
              <a:gd name="connsiteY3" fmla="*/ 9207 h 7056608"/>
              <a:gd name="connsiteX4" fmla="*/ 1231264 w 5271134"/>
              <a:gd name="connsiteY4" fmla="*/ 7047230 h 7056608"/>
              <a:gd name="connsiteX5" fmla="*/ 1299844 w 5271134"/>
              <a:gd name="connsiteY5" fmla="*/ 7056608 h 7056608"/>
              <a:gd name="connsiteX6" fmla="*/ 3985601 w 5271134"/>
              <a:gd name="connsiteY6" fmla="*/ 488 h 7056608"/>
              <a:gd name="connsiteX7" fmla="*/ 5271134 w 5271134"/>
              <a:gd name="connsiteY7" fmla="*/ 6350 h 7056608"/>
              <a:gd name="connsiteX8" fmla="*/ 2619374 w 5271134"/>
              <a:gd name="connsiteY8" fmla="*/ 7009130 h 7056608"/>
              <a:gd name="connsiteX9" fmla="*/ 0 w 5271134"/>
              <a:gd name="connsiteY9" fmla="*/ 7007226 h 7056608"/>
              <a:gd name="connsiteX10" fmla="*/ 0 w 5271134"/>
              <a:gd name="connsiteY10" fmla="*/ 6350 h 7056608"/>
              <a:gd name="connsiteX0" fmla="*/ 1244600 w 5271134"/>
              <a:gd name="connsiteY0" fmla="*/ 6350 h 7056608"/>
              <a:gd name="connsiteX1" fmla="*/ 2581274 w 5271134"/>
              <a:gd name="connsiteY1" fmla="*/ 0 h 7056608"/>
              <a:gd name="connsiteX2" fmla="*/ 2670174 w 5271134"/>
              <a:gd name="connsiteY2" fmla="*/ 0 h 7056608"/>
              <a:gd name="connsiteX3" fmla="*/ 3908265 w 5271134"/>
              <a:gd name="connsiteY3" fmla="*/ 9207 h 7056608"/>
              <a:gd name="connsiteX4" fmla="*/ 1231264 w 5271134"/>
              <a:gd name="connsiteY4" fmla="*/ 7047230 h 7056608"/>
              <a:gd name="connsiteX5" fmla="*/ 1299844 w 5271134"/>
              <a:gd name="connsiteY5" fmla="*/ 7056608 h 7056608"/>
              <a:gd name="connsiteX6" fmla="*/ 3985601 w 5271134"/>
              <a:gd name="connsiteY6" fmla="*/ 488 h 7056608"/>
              <a:gd name="connsiteX7" fmla="*/ 5271134 w 5271134"/>
              <a:gd name="connsiteY7" fmla="*/ 6350 h 7056608"/>
              <a:gd name="connsiteX8" fmla="*/ 2619374 w 5271134"/>
              <a:gd name="connsiteY8" fmla="*/ 7009130 h 7056608"/>
              <a:gd name="connsiteX9" fmla="*/ 0 w 5271134"/>
              <a:gd name="connsiteY9" fmla="*/ 7007226 h 7056608"/>
              <a:gd name="connsiteX10" fmla="*/ 1244600 w 5271134"/>
              <a:gd name="connsiteY10" fmla="*/ 6350 h 7056608"/>
              <a:gd name="connsiteX0" fmla="*/ 13336 w 4039870"/>
              <a:gd name="connsiteY0" fmla="*/ 6350 h 7056608"/>
              <a:gd name="connsiteX1" fmla="*/ 1350010 w 4039870"/>
              <a:gd name="connsiteY1" fmla="*/ 0 h 7056608"/>
              <a:gd name="connsiteX2" fmla="*/ 1438910 w 4039870"/>
              <a:gd name="connsiteY2" fmla="*/ 0 h 7056608"/>
              <a:gd name="connsiteX3" fmla="*/ 2677001 w 4039870"/>
              <a:gd name="connsiteY3" fmla="*/ 9207 h 7056608"/>
              <a:gd name="connsiteX4" fmla="*/ 0 w 4039870"/>
              <a:gd name="connsiteY4" fmla="*/ 7047230 h 7056608"/>
              <a:gd name="connsiteX5" fmla="*/ 68580 w 4039870"/>
              <a:gd name="connsiteY5" fmla="*/ 7056608 h 7056608"/>
              <a:gd name="connsiteX6" fmla="*/ 2754337 w 4039870"/>
              <a:gd name="connsiteY6" fmla="*/ 488 h 7056608"/>
              <a:gd name="connsiteX7" fmla="*/ 4039870 w 4039870"/>
              <a:gd name="connsiteY7" fmla="*/ 6350 h 7056608"/>
              <a:gd name="connsiteX8" fmla="*/ 1388110 w 4039870"/>
              <a:gd name="connsiteY8" fmla="*/ 7009130 h 7056608"/>
              <a:gd name="connsiteX9" fmla="*/ 32386 w 4039870"/>
              <a:gd name="connsiteY9" fmla="*/ 7013576 h 7056608"/>
              <a:gd name="connsiteX10" fmla="*/ 13336 w 4039870"/>
              <a:gd name="connsiteY10" fmla="*/ 6350 h 7056608"/>
              <a:gd name="connsiteX0" fmla="*/ 13336 w 4039870"/>
              <a:gd name="connsiteY0" fmla="*/ 9525 h 7059783"/>
              <a:gd name="connsiteX1" fmla="*/ 1350010 w 4039870"/>
              <a:gd name="connsiteY1" fmla="*/ 3175 h 7059783"/>
              <a:gd name="connsiteX2" fmla="*/ 1400810 w 4039870"/>
              <a:gd name="connsiteY2" fmla="*/ 0 h 7059783"/>
              <a:gd name="connsiteX3" fmla="*/ 1438910 w 4039870"/>
              <a:gd name="connsiteY3" fmla="*/ 3175 h 7059783"/>
              <a:gd name="connsiteX4" fmla="*/ 2677001 w 4039870"/>
              <a:gd name="connsiteY4" fmla="*/ 12382 h 7059783"/>
              <a:gd name="connsiteX5" fmla="*/ 0 w 4039870"/>
              <a:gd name="connsiteY5" fmla="*/ 7050405 h 7059783"/>
              <a:gd name="connsiteX6" fmla="*/ 68580 w 4039870"/>
              <a:gd name="connsiteY6" fmla="*/ 7059783 h 7059783"/>
              <a:gd name="connsiteX7" fmla="*/ 2754337 w 4039870"/>
              <a:gd name="connsiteY7" fmla="*/ 3663 h 7059783"/>
              <a:gd name="connsiteX8" fmla="*/ 4039870 w 4039870"/>
              <a:gd name="connsiteY8" fmla="*/ 9525 h 7059783"/>
              <a:gd name="connsiteX9" fmla="*/ 1388110 w 4039870"/>
              <a:gd name="connsiteY9" fmla="*/ 7012305 h 7059783"/>
              <a:gd name="connsiteX10" fmla="*/ 32386 w 4039870"/>
              <a:gd name="connsiteY10" fmla="*/ 7016751 h 7059783"/>
              <a:gd name="connsiteX11" fmla="*/ 13336 w 4039870"/>
              <a:gd name="connsiteY11" fmla="*/ 9525 h 7059783"/>
              <a:gd name="connsiteX0" fmla="*/ 13336 w 4039870"/>
              <a:gd name="connsiteY0" fmla="*/ 6350 h 7056608"/>
              <a:gd name="connsiteX1" fmla="*/ 1350010 w 4039870"/>
              <a:gd name="connsiteY1" fmla="*/ 0 h 7056608"/>
              <a:gd name="connsiteX2" fmla="*/ 19685 w 4039870"/>
              <a:gd name="connsiteY2" fmla="*/ 3749675 h 7056608"/>
              <a:gd name="connsiteX3" fmla="*/ 1438910 w 4039870"/>
              <a:gd name="connsiteY3" fmla="*/ 0 h 7056608"/>
              <a:gd name="connsiteX4" fmla="*/ 2677001 w 4039870"/>
              <a:gd name="connsiteY4" fmla="*/ 9207 h 7056608"/>
              <a:gd name="connsiteX5" fmla="*/ 0 w 4039870"/>
              <a:gd name="connsiteY5" fmla="*/ 7047230 h 7056608"/>
              <a:gd name="connsiteX6" fmla="*/ 68580 w 4039870"/>
              <a:gd name="connsiteY6" fmla="*/ 7056608 h 7056608"/>
              <a:gd name="connsiteX7" fmla="*/ 2754337 w 4039870"/>
              <a:gd name="connsiteY7" fmla="*/ 488 h 7056608"/>
              <a:gd name="connsiteX8" fmla="*/ 4039870 w 4039870"/>
              <a:gd name="connsiteY8" fmla="*/ 6350 h 7056608"/>
              <a:gd name="connsiteX9" fmla="*/ 1388110 w 4039870"/>
              <a:gd name="connsiteY9" fmla="*/ 7009130 h 7056608"/>
              <a:gd name="connsiteX10" fmla="*/ 32386 w 4039870"/>
              <a:gd name="connsiteY10" fmla="*/ 7013576 h 7056608"/>
              <a:gd name="connsiteX11" fmla="*/ 13336 w 4039870"/>
              <a:gd name="connsiteY11" fmla="*/ 6350 h 7056608"/>
              <a:gd name="connsiteX0" fmla="*/ 13336 w 4039870"/>
              <a:gd name="connsiteY0" fmla="*/ 6350 h 7056608"/>
              <a:gd name="connsiteX1" fmla="*/ 1369060 w 4039870"/>
              <a:gd name="connsiteY1" fmla="*/ 0 h 7056608"/>
              <a:gd name="connsiteX2" fmla="*/ 19685 w 4039870"/>
              <a:gd name="connsiteY2" fmla="*/ 3749675 h 7056608"/>
              <a:gd name="connsiteX3" fmla="*/ 1438910 w 4039870"/>
              <a:gd name="connsiteY3" fmla="*/ 0 h 7056608"/>
              <a:gd name="connsiteX4" fmla="*/ 2677001 w 4039870"/>
              <a:gd name="connsiteY4" fmla="*/ 9207 h 7056608"/>
              <a:gd name="connsiteX5" fmla="*/ 0 w 4039870"/>
              <a:gd name="connsiteY5" fmla="*/ 7047230 h 7056608"/>
              <a:gd name="connsiteX6" fmla="*/ 68580 w 4039870"/>
              <a:gd name="connsiteY6" fmla="*/ 7056608 h 7056608"/>
              <a:gd name="connsiteX7" fmla="*/ 2754337 w 4039870"/>
              <a:gd name="connsiteY7" fmla="*/ 488 h 7056608"/>
              <a:gd name="connsiteX8" fmla="*/ 4039870 w 4039870"/>
              <a:gd name="connsiteY8" fmla="*/ 6350 h 7056608"/>
              <a:gd name="connsiteX9" fmla="*/ 1388110 w 4039870"/>
              <a:gd name="connsiteY9" fmla="*/ 7009130 h 7056608"/>
              <a:gd name="connsiteX10" fmla="*/ 32386 w 4039870"/>
              <a:gd name="connsiteY10" fmla="*/ 7013576 h 7056608"/>
              <a:gd name="connsiteX11" fmla="*/ 13336 w 4039870"/>
              <a:gd name="connsiteY11" fmla="*/ 6350 h 7056608"/>
              <a:gd name="connsiteX0" fmla="*/ 13336 w 4039870"/>
              <a:gd name="connsiteY0" fmla="*/ 6350 h 7056608"/>
              <a:gd name="connsiteX1" fmla="*/ 1369060 w 4039870"/>
              <a:gd name="connsiteY1" fmla="*/ 0 h 7056608"/>
              <a:gd name="connsiteX2" fmla="*/ 807085 w 4039870"/>
              <a:gd name="connsiteY2" fmla="*/ 1568450 h 7056608"/>
              <a:gd name="connsiteX3" fmla="*/ 19685 w 4039870"/>
              <a:gd name="connsiteY3" fmla="*/ 3749675 h 7056608"/>
              <a:gd name="connsiteX4" fmla="*/ 1438910 w 4039870"/>
              <a:gd name="connsiteY4" fmla="*/ 0 h 7056608"/>
              <a:gd name="connsiteX5" fmla="*/ 2677001 w 4039870"/>
              <a:gd name="connsiteY5" fmla="*/ 9207 h 7056608"/>
              <a:gd name="connsiteX6" fmla="*/ 0 w 4039870"/>
              <a:gd name="connsiteY6" fmla="*/ 7047230 h 7056608"/>
              <a:gd name="connsiteX7" fmla="*/ 68580 w 4039870"/>
              <a:gd name="connsiteY7" fmla="*/ 7056608 h 7056608"/>
              <a:gd name="connsiteX8" fmla="*/ 2754337 w 4039870"/>
              <a:gd name="connsiteY8" fmla="*/ 488 h 7056608"/>
              <a:gd name="connsiteX9" fmla="*/ 4039870 w 4039870"/>
              <a:gd name="connsiteY9" fmla="*/ 6350 h 7056608"/>
              <a:gd name="connsiteX10" fmla="*/ 1388110 w 4039870"/>
              <a:gd name="connsiteY10" fmla="*/ 7009130 h 7056608"/>
              <a:gd name="connsiteX11" fmla="*/ 32386 w 4039870"/>
              <a:gd name="connsiteY11" fmla="*/ 7013576 h 7056608"/>
              <a:gd name="connsiteX12" fmla="*/ 13336 w 4039870"/>
              <a:gd name="connsiteY12" fmla="*/ 6350 h 7056608"/>
              <a:gd name="connsiteX0" fmla="*/ 13336 w 4039870"/>
              <a:gd name="connsiteY0" fmla="*/ 6350 h 7056608"/>
              <a:gd name="connsiteX1" fmla="*/ 1369060 w 4039870"/>
              <a:gd name="connsiteY1" fmla="*/ 0 h 7056608"/>
              <a:gd name="connsiteX2" fmla="*/ 22860 w 4039870"/>
              <a:gd name="connsiteY2" fmla="*/ 3540125 h 7056608"/>
              <a:gd name="connsiteX3" fmla="*/ 19685 w 4039870"/>
              <a:gd name="connsiteY3" fmla="*/ 3749675 h 7056608"/>
              <a:gd name="connsiteX4" fmla="*/ 1438910 w 4039870"/>
              <a:gd name="connsiteY4" fmla="*/ 0 h 7056608"/>
              <a:gd name="connsiteX5" fmla="*/ 2677001 w 4039870"/>
              <a:gd name="connsiteY5" fmla="*/ 9207 h 7056608"/>
              <a:gd name="connsiteX6" fmla="*/ 0 w 4039870"/>
              <a:gd name="connsiteY6" fmla="*/ 7047230 h 7056608"/>
              <a:gd name="connsiteX7" fmla="*/ 68580 w 4039870"/>
              <a:gd name="connsiteY7" fmla="*/ 7056608 h 7056608"/>
              <a:gd name="connsiteX8" fmla="*/ 2754337 w 4039870"/>
              <a:gd name="connsiteY8" fmla="*/ 488 h 7056608"/>
              <a:gd name="connsiteX9" fmla="*/ 4039870 w 4039870"/>
              <a:gd name="connsiteY9" fmla="*/ 6350 h 7056608"/>
              <a:gd name="connsiteX10" fmla="*/ 1388110 w 4039870"/>
              <a:gd name="connsiteY10" fmla="*/ 7009130 h 7056608"/>
              <a:gd name="connsiteX11" fmla="*/ 32386 w 4039870"/>
              <a:gd name="connsiteY11" fmla="*/ 7013576 h 7056608"/>
              <a:gd name="connsiteX12" fmla="*/ 13336 w 4039870"/>
              <a:gd name="connsiteY12" fmla="*/ 6350 h 7056608"/>
              <a:gd name="connsiteX0" fmla="*/ 13336 w 4039870"/>
              <a:gd name="connsiteY0" fmla="*/ 6350 h 7056608"/>
              <a:gd name="connsiteX1" fmla="*/ 1369060 w 4039870"/>
              <a:gd name="connsiteY1" fmla="*/ 0 h 7056608"/>
              <a:gd name="connsiteX2" fmla="*/ 19685 w 4039870"/>
              <a:gd name="connsiteY2" fmla="*/ 3556000 h 7056608"/>
              <a:gd name="connsiteX3" fmla="*/ 19685 w 4039870"/>
              <a:gd name="connsiteY3" fmla="*/ 3749675 h 7056608"/>
              <a:gd name="connsiteX4" fmla="*/ 1438910 w 4039870"/>
              <a:gd name="connsiteY4" fmla="*/ 0 h 7056608"/>
              <a:gd name="connsiteX5" fmla="*/ 2677001 w 4039870"/>
              <a:gd name="connsiteY5" fmla="*/ 9207 h 7056608"/>
              <a:gd name="connsiteX6" fmla="*/ 0 w 4039870"/>
              <a:gd name="connsiteY6" fmla="*/ 7047230 h 7056608"/>
              <a:gd name="connsiteX7" fmla="*/ 68580 w 4039870"/>
              <a:gd name="connsiteY7" fmla="*/ 7056608 h 7056608"/>
              <a:gd name="connsiteX8" fmla="*/ 2754337 w 4039870"/>
              <a:gd name="connsiteY8" fmla="*/ 488 h 7056608"/>
              <a:gd name="connsiteX9" fmla="*/ 4039870 w 4039870"/>
              <a:gd name="connsiteY9" fmla="*/ 6350 h 7056608"/>
              <a:gd name="connsiteX10" fmla="*/ 1388110 w 4039870"/>
              <a:gd name="connsiteY10" fmla="*/ 7009130 h 7056608"/>
              <a:gd name="connsiteX11" fmla="*/ 32386 w 4039870"/>
              <a:gd name="connsiteY11" fmla="*/ 7013576 h 7056608"/>
              <a:gd name="connsiteX12" fmla="*/ 13336 w 4039870"/>
              <a:gd name="connsiteY12" fmla="*/ 6350 h 7056608"/>
              <a:gd name="connsiteX0" fmla="*/ 13336 w 4039870"/>
              <a:gd name="connsiteY0" fmla="*/ 6350 h 7056608"/>
              <a:gd name="connsiteX1" fmla="*/ 1369060 w 4039870"/>
              <a:gd name="connsiteY1" fmla="*/ 0 h 7056608"/>
              <a:gd name="connsiteX2" fmla="*/ 19685 w 4039870"/>
              <a:gd name="connsiteY2" fmla="*/ 3568700 h 7056608"/>
              <a:gd name="connsiteX3" fmla="*/ 19685 w 4039870"/>
              <a:gd name="connsiteY3" fmla="*/ 3749675 h 7056608"/>
              <a:gd name="connsiteX4" fmla="*/ 1438910 w 4039870"/>
              <a:gd name="connsiteY4" fmla="*/ 0 h 7056608"/>
              <a:gd name="connsiteX5" fmla="*/ 2677001 w 4039870"/>
              <a:gd name="connsiteY5" fmla="*/ 9207 h 7056608"/>
              <a:gd name="connsiteX6" fmla="*/ 0 w 4039870"/>
              <a:gd name="connsiteY6" fmla="*/ 7047230 h 7056608"/>
              <a:gd name="connsiteX7" fmla="*/ 68580 w 4039870"/>
              <a:gd name="connsiteY7" fmla="*/ 7056608 h 7056608"/>
              <a:gd name="connsiteX8" fmla="*/ 2754337 w 4039870"/>
              <a:gd name="connsiteY8" fmla="*/ 488 h 7056608"/>
              <a:gd name="connsiteX9" fmla="*/ 4039870 w 4039870"/>
              <a:gd name="connsiteY9" fmla="*/ 6350 h 7056608"/>
              <a:gd name="connsiteX10" fmla="*/ 1388110 w 4039870"/>
              <a:gd name="connsiteY10" fmla="*/ 7009130 h 7056608"/>
              <a:gd name="connsiteX11" fmla="*/ 32386 w 4039870"/>
              <a:gd name="connsiteY11" fmla="*/ 7013576 h 7056608"/>
              <a:gd name="connsiteX12" fmla="*/ 13336 w 4039870"/>
              <a:gd name="connsiteY12" fmla="*/ 6350 h 705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39870" h="7056608">
                <a:moveTo>
                  <a:pt x="13336" y="6350"/>
                </a:moveTo>
                <a:lnTo>
                  <a:pt x="1369060" y="0"/>
                </a:lnTo>
                <a:lnTo>
                  <a:pt x="19685" y="3568700"/>
                </a:lnTo>
                <a:cubicBezTo>
                  <a:pt x="18627" y="3638550"/>
                  <a:pt x="20743" y="3679825"/>
                  <a:pt x="19685" y="3749675"/>
                </a:cubicBezTo>
                <a:lnTo>
                  <a:pt x="1438910" y="0"/>
                </a:lnTo>
                <a:lnTo>
                  <a:pt x="2677001" y="9207"/>
                </a:lnTo>
                <a:lnTo>
                  <a:pt x="0" y="7047230"/>
                </a:lnTo>
                <a:lnTo>
                  <a:pt x="68580" y="7056608"/>
                </a:lnTo>
                <a:lnTo>
                  <a:pt x="2754337" y="488"/>
                </a:lnTo>
                <a:lnTo>
                  <a:pt x="4039870" y="6350"/>
                </a:lnTo>
                <a:lnTo>
                  <a:pt x="1388110" y="7009130"/>
                </a:lnTo>
                <a:lnTo>
                  <a:pt x="32386" y="7013576"/>
                </a:lnTo>
                <a:lnTo>
                  <a:pt x="13336" y="6350"/>
                </a:lnTo>
                <a:close/>
              </a:path>
            </a:pathLst>
          </a:custGeom>
          <a:solidFill>
            <a:schemeClr val="bg1">
              <a:lumMod val="65000"/>
            </a:schemeClr>
          </a:solidFill>
        </p:spPr>
        <p:txBody>
          <a:bodyPr lIns="576000" tIns="3348000"/>
          <a:lstStyle>
            <a:lvl1pPr>
              <a:defRPr sz="1200" b="1">
                <a:solidFill>
                  <a:schemeClr val="bg1"/>
                </a:solidFill>
              </a:defRPr>
            </a:lvl1pPr>
          </a:lstStyle>
          <a:p>
            <a:endParaRPr lang="en-US"/>
          </a:p>
        </p:txBody>
      </p:sp>
    </p:spTree>
    <p:extLst>
      <p:ext uri="{BB962C8B-B14F-4D97-AF65-F5344CB8AC3E}">
        <p14:creationId xmlns:p14="http://schemas.microsoft.com/office/powerpoint/2010/main" val="3094662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IC Cover 4 ">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hasCustomPrompt="1"/>
          </p:nvPr>
        </p:nvSpPr>
        <p:spPr>
          <a:xfrm>
            <a:off x="-74933" y="-76200"/>
            <a:ext cx="4618358" cy="6979468"/>
          </a:xfrm>
          <a:custGeom>
            <a:avLst/>
            <a:gdLst>
              <a:gd name="connsiteX0" fmla="*/ 0 w 4618144"/>
              <a:gd name="connsiteY0" fmla="*/ 0 h 6965950"/>
              <a:gd name="connsiteX1" fmla="*/ 4618144 w 4618144"/>
              <a:gd name="connsiteY1" fmla="*/ 0 h 6965950"/>
              <a:gd name="connsiteX2" fmla="*/ 4618144 w 4618144"/>
              <a:gd name="connsiteY2" fmla="*/ 6965950 h 6965950"/>
              <a:gd name="connsiteX3" fmla="*/ 0 w 4618144"/>
              <a:gd name="connsiteY3" fmla="*/ 6965950 h 6965950"/>
              <a:gd name="connsiteX4" fmla="*/ 0 w 4618144"/>
              <a:gd name="connsiteY4" fmla="*/ 0 h 6965950"/>
              <a:gd name="connsiteX0" fmla="*/ 0 w 4618144"/>
              <a:gd name="connsiteY0" fmla="*/ 6350 h 6972300"/>
              <a:gd name="connsiteX1" fmla="*/ 1954319 w 4618144"/>
              <a:gd name="connsiteY1" fmla="*/ 0 h 6972300"/>
              <a:gd name="connsiteX2" fmla="*/ 4618144 w 4618144"/>
              <a:gd name="connsiteY2" fmla="*/ 6350 h 6972300"/>
              <a:gd name="connsiteX3" fmla="*/ 4618144 w 4618144"/>
              <a:gd name="connsiteY3" fmla="*/ 6972300 h 6972300"/>
              <a:gd name="connsiteX4" fmla="*/ 0 w 4618144"/>
              <a:gd name="connsiteY4" fmla="*/ 6972300 h 6972300"/>
              <a:gd name="connsiteX5" fmla="*/ 0 w 4618144"/>
              <a:gd name="connsiteY5" fmla="*/ 6350 h 6972300"/>
              <a:gd name="connsiteX0" fmla="*/ 0 w 4618144"/>
              <a:gd name="connsiteY0" fmla="*/ 6350 h 6972300"/>
              <a:gd name="connsiteX1" fmla="*/ 716069 w 4618144"/>
              <a:gd name="connsiteY1" fmla="*/ 0 h 6972300"/>
              <a:gd name="connsiteX2" fmla="*/ 1954319 w 4618144"/>
              <a:gd name="connsiteY2" fmla="*/ 0 h 6972300"/>
              <a:gd name="connsiteX3" fmla="*/ 4618144 w 4618144"/>
              <a:gd name="connsiteY3" fmla="*/ 6350 h 6972300"/>
              <a:gd name="connsiteX4" fmla="*/ 4618144 w 4618144"/>
              <a:gd name="connsiteY4" fmla="*/ 6972300 h 6972300"/>
              <a:gd name="connsiteX5" fmla="*/ 0 w 4618144"/>
              <a:gd name="connsiteY5" fmla="*/ 6972300 h 6972300"/>
              <a:gd name="connsiteX6" fmla="*/ 0 w 4618144"/>
              <a:gd name="connsiteY6" fmla="*/ 6350 h 6972300"/>
              <a:gd name="connsiteX0" fmla="*/ 0 w 4618144"/>
              <a:gd name="connsiteY0" fmla="*/ 6350 h 6972300"/>
              <a:gd name="connsiteX1" fmla="*/ 620819 w 4618144"/>
              <a:gd name="connsiteY1" fmla="*/ 0 h 6972300"/>
              <a:gd name="connsiteX2" fmla="*/ 716069 w 4618144"/>
              <a:gd name="connsiteY2" fmla="*/ 0 h 6972300"/>
              <a:gd name="connsiteX3" fmla="*/ 1954319 w 4618144"/>
              <a:gd name="connsiteY3" fmla="*/ 0 h 6972300"/>
              <a:gd name="connsiteX4" fmla="*/ 4618144 w 4618144"/>
              <a:gd name="connsiteY4" fmla="*/ 6350 h 6972300"/>
              <a:gd name="connsiteX5" fmla="*/ 4618144 w 4618144"/>
              <a:gd name="connsiteY5" fmla="*/ 6972300 h 6972300"/>
              <a:gd name="connsiteX6" fmla="*/ 0 w 4618144"/>
              <a:gd name="connsiteY6" fmla="*/ 6972300 h 6972300"/>
              <a:gd name="connsiteX7" fmla="*/ 0 w 4618144"/>
              <a:gd name="connsiteY7" fmla="*/ 6350 h 6972300"/>
              <a:gd name="connsiteX0" fmla="*/ 7831 w 4625975"/>
              <a:gd name="connsiteY0" fmla="*/ 6350 h 6972300"/>
              <a:gd name="connsiteX1" fmla="*/ 628650 w 4625975"/>
              <a:gd name="connsiteY1" fmla="*/ 0 h 6972300"/>
              <a:gd name="connsiteX2" fmla="*/ 723900 w 4625975"/>
              <a:gd name="connsiteY2" fmla="*/ 0 h 6972300"/>
              <a:gd name="connsiteX3" fmla="*/ 1962150 w 4625975"/>
              <a:gd name="connsiteY3" fmla="*/ 0 h 6972300"/>
              <a:gd name="connsiteX4" fmla="*/ 4625975 w 4625975"/>
              <a:gd name="connsiteY4" fmla="*/ 6350 h 6972300"/>
              <a:gd name="connsiteX5" fmla="*/ 4625975 w 4625975"/>
              <a:gd name="connsiteY5" fmla="*/ 6972300 h 6972300"/>
              <a:gd name="connsiteX6" fmla="*/ 7831 w 4625975"/>
              <a:gd name="connsiteY6" fmla="*/ 6972300 h 6972300"/>
              <a:gd name="connsiteX7" fmla="*/ 0 w 4625975"/>
              <a:gd name="connsiteY7" fmla="*/ 1625600 h 6972300"/>
              <a:gd name="connsiteX8" fmla="*/ 7831 w 4625975"/>
              <a:gd name="connsiteY8"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46555 w 4964699"/>
              <a:gd name="connsiteY6" fmla="*/ 6972300 h 6972300"/>
              <a:gd name="connsiteX7" fmla="*/ 332375 w 4964699"/>
              <a:gd name="connsiteY7" fmla="*/ 1841500 h 6972300"/>
              <a:gd name="connsiteX8" fmla="*/ 338724 w 4964699"/>
              <a:gd name="connsiteY8" fmla="*/ 1625600 h 6972300"/>
              <a:gd name="connsiteX9" fmla="*/ 346555 w 4964699"/>
              <a:gd name="connsiteY9"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2288175 w 4964699"/>
              <a:gd name="connsiteY6" fmla="*/ 6965950 h 6972300"/>
              <a:gd name="connsiteX7" fmla="*/ 346555 w 4964699"/>
              <a:gd name="connsiteY7" fmla="*/ 6972300 h 6972300"/>
              <a:gd name="connsiteX8" fmla="*/ 332375 w 4964699"/>
              <a:gd name="connsiteY8" fmla="*/ 1841500 h 6972300"/>
              <a:gd name="connsiteX9" fmla="*/ 338724 w 4964699"/>
              <a:gd name="connsiteY9" fmla="*/ 1625600 h 6972300"/>
              <a:gd name="connsiteX10" fmla="*/ 346555 w 4964699"/>
              <a:gd name="connsiteY10"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2389775 w 4964699"/>
              <a:gd name="connsiteY6" fmla="*/ 6959600 h 6972300"/>
              <a:gd name="connsiteX7" fmla="*/ 2288175 w 4964699"/>
              <a:gd name="connsiteY7" fmla="*/ 6965950 h 6972300"/>
              <a:gd name="connsiteX8" fmla="*/ 346555 w 4964699"/>
              <a:gd name="connsiteY8" fmla="*/ 6972300 h 6972300"/>
              <a:gd name="connsiteX9" fmla="*/ 332375 w 4964699"/>
              <a:gd name="connsiteY9" fmla="*/ 1841500 h 6972300"/>
              <a:gd name="connsiteX10" fmla="*/ 338724 w 4964699"/>
              <a:gd name="connsiteY10" fmla="*/ 1625600 h 6972300"/>
              <a:gd name="connsiteX11" fmla="*/ 346555 w 4964699"/>
              <a:gd name="connsiteY11"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615325 w 4964699"/>
              <a:gd name="connsiteY6" fmla="*/ 6959600 h 6972300"/>
              <a:gd name="connsiteX7" fmla="*/ 2389775 w 4964699"/>
              <a:gd name="connsiteY7" fmla="*/ 6959600 h 6972300"/>
              <a:gd name="connsiteX8" fmla="*/ 2288175 w 4964699"/>
              <a:gd name="connsiteY8" fmla="*/ 6965950 h 6972300"/>
              <a:gd name="connsiteX9" fmla="*/ 346555 w 4964699"/>
              <a:gd name="connsiteY9" fmla="*/ 6972300 h 6972300"/>
              <a:gd name="connsiteX10" fmla="*/ 332375 w 4964699"/>
              <a:gd name="connsiteY10" fmla="*/ 1841500 h 6972300"/>
              <a:gd name="connsiteX11" fmla="*/ 338724 w 4964699"/>
              <a:gd name="connsiteY11" fmla="*/ 1625600 h 6972300"/>
              <a:gd name="connsiteX12" fmla="*/ 346555 w 4964699"/>
              <a:gd name="connsiteY12"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704225 w 4964699"/>
              <a:gd name="connsiteY6" fmla="*/ 6959600 h 6972300"/>
              <a:gd name="connsiteX7" fmla="*/ 3615325 w 4964699"/>
              <a:gd name="connsiteY7" fmla="*/ 6959600 h 6972300"/>
              <a:gd name="connsiteX8" fmla="*/ 2389775 w 4964699"/>
              <a:gd name="connsiteY8" fmla="*/ 6959600 h 6972300"/>
              <a:gd name="connsiteX9" fmla="*/ 2288175 w 4964699"/>
              <a:gd name="connsiteY9" fmla="*/ 6965950 h 6972300"/>
              <a:gd name="connsiteX10" fmla="*/ 346555 w 4964699"/>
              <a:gd name="connsiteY10" fmla="*/ 6972300 h 6972300"/>
              <a:gd name="connsiteX11" fmla="*/ 332375 w 4964699"/>
              <a:gd name="connsiteY11" fmla="*/ 1841500 h 6972300"/>
              <a:gd name="connsiteX12" fmla="*/ 338724 w 4964699"/>
              <a:gd name="connsiteY12" fmla="*/ 1625600 h 6972300"/>
              <a:gd name="connsiteX13" fmla="*/ 346555 w 4964699"/>
              <a:gd name="connsiteY13" fmla="*/ 6350 h 6972300"/>
              <a:gd name="connsiteX0" fmla="*/ 346555 w 4964699"/>
              <a:gd name="connsiteY0" fmla="*/ 11113 h 6977063"/>
              <a:gd name="connsiteX1" fmla="*/ 967374 w 4964699"/>
              <a:gd name="connsiteY1" fmla="*/ 4763 h 6977063"/>
              <a:gd name="connsiteX2" fmla="*/ 1026113 w 4964699"/>
              <a:gd name="connsiteY2" fmla="*/ 0 h 6977063"/>
              <a:gd name="connsiteX3" fmla="*/ 1062624 w 4964699"/>
              <a:gd name="connsiteY3" fmla="*/ 4763 h 6977063"/>
              <a:gd name="connsiteX4" fmla="*/ 2300874 w 4964699"/>
              <a:gd name="connsiteY4" fmla="*/ 4763 h 6977063"/>
              <a:gd name="connsiteX5" fmla="*/ 4964699 w 4964699"/>
              <a:gd name="connsiteY5" fmla="*/ 11113 h 6977063"/>
              <a:gd name="connsiteX6" fmla="*/ 4964699 w 4964699"/>
              <a:gd name="connsiteY6" fmla="*/ 6977063 h 6977063"/>
              <a:gd name="connsiteX7" fmla="*/ 3704225 w 4964699"/>
              <a:gd name="connsiteY7" fmla="*/ 6964363 h 6977063"/>
              <a:gd name="connsiteX8" fmla="*/ 3615325 w 4964699"/>
              <a:gd name="connsiteY8" fmla="*/ 6964363 h 6977063"/>
              <a:gd name="connsiteX9" fmla="*/ 2389775 w 4964699"/>
              <a:gd name="connsiteY9" fmla="*/ 6964363 h 6977063"/>
              <a:gd name="connsiteX10" fmla="*/ 2288175 w 4964699"/>
              <a:gd name="connsiteY10" fmla="*/ 6970713 h 6977063"/>
              <a:gd name="connsiteX11" fmla="*/ 346555 w 4964699"/>
              <a:gd name="connsiteY11" fmla="*/ 6977063 h 6977063"/>
              <a:gd name="connsiteX12" fmla="*/ 332375 w 4964699"/>
              <a:gd name="connsiteY12" fmla="*/ 1846263 h 6977063"/>
              <a:gd name="connsiteX13" fmla="*/ 338724 w 4964699"/>
              <a:gd name="connsiteY13" fmla="*/ 1630363 h 6977063"/>
              <a:gd name="connsiteX14" fmla="*/ 346555 w 4964699"/>
              <a:gd name="connsiteY14" fmla="*/ 11113 h 6977063"/>
              <a:gd name="connsiteX0" fmla="*/ 346555 w 4964699"/>
              <a:gd name="connsiteY0" fmla="*/ 6350 h 6972300"/>
              <a:gd name="connsiteX1" fmla="*/ 967374 w 4964699"/>
              <a:gd name="connsiteY1" fmla="*/ 0 h 6972300"/>
              <a:gd name="connsiteX2" fmla="*/ 2526300 w 4964699"/>
              <a:gd name="connsiteY2" fmla="*/ 3881437 h 6972300"/>
              <a:gd name="connsiteX3" fmla="*/ 1062624 w 4964699"/>
              <a:gd name="connsiteY3" fmla="*/ 0 h 6972300"/>
              <a:gd name="connsiteX4" fmla="*/ 2300874 w 4964699"/>
              <a:gd name="connsiteY4" fmla="*/ 0 h 6972300"/>
              <a:gd name="connsiteX5" fmla="*/ 4964699 w 4964699"/>
              <a:gd name="connsiteY5" fmla="*/ 6350 h 6972300"/>
              <a:gd name="connsiteX6" fmla="*/ 4964699 w 4964699"/>
              <a:gd name="connsiteY6" fmla="*/ 6972300 h 6972300"/>
              <a:gd name="connsiteX7" fmla="*/ 3704225 w 4964699"/>
              <a:gd name="connsiteY7" fmla="*/ 6959600 h 6972300"/>
              <a:gd name="connsiteX8" fmla="*/ 3615325 w 4964699"/>
              <a:gd name="connsiteY8" fmla="*/ 6959600 h 6972300"/>
              <a:gd name="connsiteX9" fmla="*/ 2389775 w 4964699"/>
              <a:gd name="connsiteY9" fmla="*/ 6959600 h 6972300"/>
              <a:gd name="connsiteX10" fmla="*/ 2288175 w 4964699"/>
              <a:gd name="connsiteY10" fmla="*/ 6965950 h 6972300"/>
              <a:gd name="connsiteX11" fmla="*/ 346555 w 4964699"/>
              <a:gd name="connsiteY11" fmla="*/ 6972300 h 6972300"/>
              <a:gd name="connsiteX12" fmla="*/ 332375 w 4964699"/>
              <a:gd name="connsiteY12" fmla="*/ 1841500 h 6972300"/>
              <a:gd name="connsiteX13" fmla="*/ 338724 w 4964699"/>
              <a:gd name="connsiteY13" fmla="*/ 1625600 h 6972300"/>
              <a:gd name="connsiteX14" fmla="*/ 346555 w 4964699"/>
              <a:gd name="connsiteY14" fmla="*/ 6350 h 6972300"/>
              <a:gd name="connsiteX0" fmla="*/ 346555 w 4964699"/>
              <a:gd name="connsiteY0" fmla="*/ 6350 h 6972300"/>
              <a:gd name="connsiteX1" fmla="*/ 967374 w 4964699"/>
              <a:gd name="connsiteY1" fmla="*/ 0 h 6972300"/>
              <a:gd name="connsiteX2" fmla="*/ 3699780 w 4964699"/>
              <a:gd name="connsiteY2" fmla="*/ 6967537 h 6972300"/>
              <a:gd name="connsiteX3" fmla="*/ 1062624 w 4964699"/>
              <a:gd name="connsiteY3" fmla="*/ 0 h 6972300"/>
              <a:gd name="connsiteX4" fmla="*/ 2300874 w 4964699"/>
              <a:gd name="connsiteY4" fmla="*/ 0 h 6972300"/>
              <a:gd name="connsiteX5" fmla="*/ 4964699 w 4964699"/>
              <a:gd name="connsiteY5" fmla="*/ 6350 h 6972300"/>
              <a:gd name="connsiteX6" fmla="*/ 4964699 w 4964699"/>
              <a:gd name="connsiteY6" fmla="*/ 6972300 h 6972300"/>
              <a:gd name="connsiteX7" fmla="*/ 3704225 w 4964699"/>
              <a:gd name="connsiteY7" fmla="*/ 6959600 h 6972300"/>
              <a:gd name="connsiteX8" fmla="*/ 3615325 w 4964699"/>
              <a:gd name="connsiteY8" fmla="*/ 6959600 h 6972300"/>
              <a:gd name="connsiteX9" fmla="*/ 2389775 w 4964699"/>
              <a:gd name="connsiteY9" fmla="*/ 6959600 h 6972300"/>
              <a:gd name="connsiteX10" fmla="*/ 2288175 w 4964699"/>
              <a:gd name="connsiteY10" fmla="*/ 6965950 h 6972300"/>
              <a:gd name="connsiteX11" fmla="*/ 346555 w 4964699"/>
              <a:gd name="connsiteY11" fmla="*/ 6972300 h 6972300"/>
              <a:gd name="connsiteX12" fmla="*/ 332375 w 4964699"/>
              <a:gd name="connsiteY12" fmla="*/ 1841500 h 6972300"/>
              <a:gd name="connsiteX13" fmla="*/ 338724 w 4964699"/>
              <a:gd name="connsiteY13" fmla="*/ 1625600 h 6972300"/>
              <a:gd name="connsiteX14" fmla="*/ 346555 w 4964699"/>
              <a:gd name="connsiteY14" fmla="*/ 6350 h 6972300"/>
              <a:gd name="connsiteX0" fmla="*/ 346555 w 4964699"/>
              <a:gd name="connsiteY0" fmla="*/ 6350 h 6972300"/>
              <a:gd name="connsiteX1" fmla="*/ 967374 w 4964699"/>
              <a:gd name="connsiteY1" fmla="*/ 0 h 6972300"/>
              <a:gd name="connsiteX2" fmla="*/ 2684415 w 4964699"/>
              <a:gd name="connsiteY2" fmla="*/ 438150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615325 w 4964699"/>
              <a:gd name="connsiteY9" fmla="*/ 695960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346555 w 4964699"/>
              <a:gd name="connsiteY0" fmla="*/ 6350 h 6972300"/>
              <a:gd name="connsiteX1" fmla="*/ 967374 w 4964699"/>
              <a:gd name="connsiteY1" fmla="*/ 0 h 6972300"/>
              <a:gd name="connsiteX2" fmla="*/ 3621675 w 4964699"/>
              <a:gd name="connsiteY2" fmla="*/ 695706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615325 w 4964699"/>
              <a:gd name="connsiteY9" fmla="*/ 695960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346555 w 4964699"/>
              <a:gd name="connsiteY0" fmla="*/ 6350 h 6972300"/>
              <a:gd name="connsiteX1" fmla="*/ 967374 w 4964699"/>
              <a:gd name="connsiteY1" fmla="*/ 0 h 6972300"/>
              <a:gd name="connsiteX2" fmla="*/ 3621675 w 4964699"/>
              <a:gd name="connsiteY2" fmla="*/ 695706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592465 w 4964699"/>
              <a:gd name="connsiteY9" fmla="*/ 695198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154847 w 4772991"/>
              <a:gd name="connsiteY0" fmla="*/ 6350 h 6972300"/>
              <a:gd name="connsiteX1" fmla="*/ 775666 w 4772991"/>
              <a:gd name="connsiteY1" fmla="*/ 0 h 6972300"/>
              <a:gd name="connsiteX2" fmla="*/ 3429967 w 4772991"/>
              <a:gd name="connsiteY2" fmla="*/ 6957060 h 6972300"/>
              <a:gd name="connsiteX3" fmla="*/ 3508072 w 4772991"/>
              <a:gd name="connsiteY3" fmla="*/ 6967537 h 6972300"/>
              <a:gd name="connsiteX4" fmla="*/ 870916 w 4772991"/>
              <a:gd name="connsiteY4" fmla="*/ 0 h 6972300"/>
              <a:gd name="connsiteX5" fmla="*/ 2109166 w 4772991"/>
              <a:gd name="connsiteY5" fmla="*/ 0 h 6972300"/>
              <a:gd name="connsiteX6" fmla="*/ 4772991 w 4772991"/>
              <a:gd name="connsiteY6" fmla="*/ 6350 h 6972300"/>
              <a:gd name="connsiteX7" fmla="*/ 4772991 w 4772991"/>
              <a:gd name="connsiteY7" fmla="*/ 6972300 h 6972300"/>
              <a:gd name="connsiteX8" fmla="*/ 3512517 w 4772991"/>
              <a:gd name="connsiteY8" fmla="*/ 6959600 h 6972300"/>
              <a:gd name="connsiteX9" fmla="*/ 3400757 w 4772991"/>
              <a:gd name="connsiteY9" fmla="*/ 6951980 h 6972300"/>
              <a:gd name="connsiteX10" fmla="*/ 2198067 w 4772991"/>
              <a:gd name="connsiteY10" fmla="*/ 6959600 h 6972300"/>
              <a:gd name="connsiteX11" fmla="*/ 2096467 w 4772991"/>
              <a:gd name="connsiteY11" fmla="*/ 6965950 h 6972300"/>
              <a:gd name="connsiteX12" fmla="*/ 154847 w 4772991"/>
              <a:gd name="connsiteY12" fmla="*/ 6972300 h 6972300"/>
              <a:gd name="connsiteX13" fmla="*/ 121617 w 4772991"/>
              <a:gd name="connsiteY13" fmla="*/ 1974850 h 6972300"/>
              <a:gd name="connsiteX14" fmla="*/ 140667 w 4772991"/>
              <a:gd name="connsiteY14" fmla="*/ 1841500 h 6972300"/>
              <a:gd name="connsiteX15" fmla="*/ 147016 w 4772991"/>
              <a:gd name="connsiteY15" fmla="*/ 1625600 h 6972300"/>
              <a:gd name="connsiteX16" fmla="*/ 154847 w 4772991"/>
              <a:gd name="connsiteY16"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123157 w 4774531"/>
              <a:gd name="connsiteY14" fmla="*/ 1974850 h 6972300"/>
              <a:gd name="connsiteX15" fmla="*/ 142207 w 4774531"/>
              <a:gd name="connsiteY15" fmla="*/ 1841500 h 6972300"/>
              <a:gd name="connsiteX16" fmla="*/ 148556 w 4774531"/>
              <a:gd name="connsiteY16" fmla="*/ 1625600 h 6972300"/>
              <a:gd name="connsiteX17" fmla="*/ 156387 w 4774531"/>
              <a:gd name="connsiteY17"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123157 w 4774531"/>
              <a:gd name="connsiteY14" fmla="*/ 1974850 h 6972300"/>
              <a:gd name="connsiteX15" fmla="*/ 525589 w 4774531"/>
              <a:gd name="connsiteY15" fmla="*/ 1889125 h 6972300"/>
              <a:gd name="connsiteX16" fmla="*/ 148556 w 4774531"/>
              <a:gd name="connsiteY16" fmla="*/ 1625600 h 6972300"/>
              <a:gd name="connsiteX17" fmla="*/ 156387 w 4774531"/>
              <a:gd name="connsiteY17"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430338 w 4774531"/>
              <a:gd name="connsiteY14" fmla="*/ 2432050 h 6972300"/>
              <a:gd name="connsiteX15" fmla="*/ 525589 w 4774531"/>
              <a:gd name="connsiteY15" fmla="*/ 1889125 h 6972300"/>
              <a:gd name="connsiteX16" fmla="*/ 148556 w 4774531"/>
              <a:gd name="connsiteY16" fmla="*/ 1625600 h 6972300"/>
              <a:gd name="connsiteX17" fmla="*/ 156387 w 4774531"/>
              <a:gd name="connsiteY17" fmla="*/ 6350 h 6972300"/>
              <a:gd name="connsiteX0" fmla="*/ 146526 w 4764670"/>
              <a:gd name="connsiteY0" fmla="*/ 6350 h 6972300"/>
              <a:gd name="connsiteX1" fmla="*/ 767345 w 4764670"/>
              <a:gd name="connsiteY1" fmla="*/ 0 h 6972300"/>
              <a:gd name="connsiteX2" fmla="*/ 3421646 w 4764670"/>
              <a:gd name="connsiteY2" fmla="*/ 6957060 h 6972300"/>
              <a:gd name="connsiteX3" fmla="*/ 3499751 w 4764670"/>
              <a:gd name="connsiteY3" fmla="*/ 6967537 h 6972300"/>
              <a:gd name="connsiteX4" fmla="*/ 862595 w 4764670"/>
              <a:gd name="connsiteY4" fmla="*/ 0 h 6972300"/>
              <a:gd name="connsiteX5" fmla="*/ 2100845 w 4764670"/>
              <a:gd name="connsiteY5" fmla="*/ 0 h 6972300"/>
              <a:gd name="connsiteX6" fmla="*/ 4764670 w 4764670"/>
              <a:gd name="connsiteY6" fmla="*/ 6350 h 6972300"/>
              <a:gd name="connsiteX7" fmla="*/ 4764670 w 4764670"/>
              <a:gd name="connsiteY7" fmla="*/ 6972300 h 6972300"/>
              <a:gd name="connsiteX8" fmla="*/ 3504196 w 4764670"/>
              <a:gd name="connsiteY8" fmla="*/ 6959600 h 6972300"/>
              <a:gd name="connsiteX9" fmla="*/ 3392436 w 4764670"/>
              <a:gd name="connsiteY9" fmla="*/ 6951980 h 6972300"/>
              <a:gd name="connsiteX10" fmla="*/ 2189746 w 4764670"/>
              <a:gd name="connsiteY10" fmla="*/ 6959600 h 6972300"/>
              <a:gd name="connsiteX11" fmla="*/ 2088146 w 4764670"/>
              <a:gd name="connsiteY11" fmla="*/ 6965950 h 6972300"/>
              <a:gd name="connsiteX12" fmla="*/ 146526 w 4764670"/>
              <a:gd name="connsiteY12" fmla="*/ 6972300 h 6972300"/>
              <a:gd name="connsiteX13" fmla="*/ 142665 w 4764670"/>
              <a:gd name="connsiteY13" fmla="*/ 2000250 h 6972300"/>
              <a:gd name="connsiteX14" fmla="*/ 420477 w 4764670"/>
              <a:gd name="connsiteY14" fmla="*/ 2432050 h 6972300"/>
              <a:gd name="connsiteX15" fmla="*/ 515728 w 4764670"/>
              <a:gd name="connsiteY15" fmla="*/ 1889125 h 6972300"/>
              <a:gd name="connsiteX16" fmla="*/ 138695 w 4764670"/>
              <a:gd name="connsiteY16" fmla="*/ 1625600 h 6972300"/>
              <a:gd name="connsiteX17" fmla="*/ 146526 w 4764670"/>
              <a:gd name="connsiteY17" fmla="*/ 6350 h 6972300"/>
              <a:gd name="connsiteX0" fmla="*/ 146526 w 4764670"/>
              <a:gd name="connsiteY0" fmla="*/ 6350 h 6972300"/>
              <a:gd name="connsiteX1" fmla="*/ 767345 w 4764670"/>
              <a:gd name="connsiteY1" fmla="*/ 0 h 6972300"/>
              <a:gd name="connsiteX2" fmla="*/ 3421646 w 4764670"/>
              <a:gd name="connsiteY2" fmla="*/ 6957060 h 6972300"/>
              <a:gd name="connsiteX3" fmla="*/ 3499751 w 4764670"/>
              <a:gd name="connsiteY3" fmla="*/ 6967537 h 6972300"/>
              <a:gd name="connsiteX4" fmla="*/ 862595 w 4764670"/>
              <a:gd name="connsiteY4" fmla="*/ 0 h 6972300"/>
              <a:gd name="connsiteX5" fmla="*/ 2100845 w 4764670"/>
              <a:gd name="connsiteY5" fmla="*/ 0 h 6972300"/>
              <a:gd name="connsiteX6" fmla="*/ 4764670 w 4764670"/>
              <a:gd name="connsiteY6" fmla="*/ 6350 h 6972300"/>
              <a:gd name="connsiteX7" fmla="*/ 4764670 w 4764670"/>
              <a:gd name="connsiteY7" fmla="*/ 6972300 h 6972300"/>
              <a:gd name="connsiteX8" fmla="*/ 3504196 w 4764670"/>
              <a:gd name="connsiteY8" fmla="*/ 6959600 h 6972300"/>
              <a:gd name="connsiteX9" fmla="*/ 3392436 w 4764670"/>
              <a:gd name="connsiteY9" fmla="*/ 6951980 h 6972300"/>
              <a:gd name="connsiteX10" fmla="*/ 2189746 w 4764670"/>
              <a:gd name="connsiteY10" fmla="*/ 6959600 h 6972300"/>
              <a:gd name="connsiteX11" fmla="*/ 2088146 w 4764670"/>
              <a:gd name="connsiteY11" fmla="*/ 6965950 h 6972300"/>
              <a:gd name="connsiteX12" fmla="*/ 146526 w 4764670"/>
              <a:gd name="connsiteY12" fmla="*/ 6972300 h 6972300"/>
              <a:gd name="connsiteX13" fmla="*/ 142665 w 4764670"/>
              <a:gd name="connsiteY13" fmla="*/ 2000250 h 6972300"/>
              <a:gd name="connsiteX14" fmla="*/ 420477 w 4764670"/>
              <a:gd name="connsiteY14" fmla="*/ 2432050 h 6972300"/>
              <a:gd name="connsiteX15" fmla="*/ 515728 w 4764670"/>
              <a:gd name="connsiteY15" fmla="*/ 1889125 h 6972300"/>
              <a:gd name="connsiteX16" fmla="*/ 138695 w 4764670"/>
              <a:gd name="connsiteY16" fmla="*/ 1625600 h 6972300"/>
              <a:gd name="connsiteX17" fmla="*/ 146526 w 476467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411767 w 4755960"/>
              <a:gd name="connsiteY14" fmla="*/ 2432050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1545242 w 4755960"/>
              <a:gd name="connsiteY14" fmla="*/ 5541962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2078642 w 4755960"/>
              <a:gd name="connsiteY14" fmla="*/ 6970712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29985 w 4755960"/>
              <a:gd name="connsiteY16" fmla="*/ 1625600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44272 w 4755960"/>
              <a:gd name="connsiteY16" fmla="*/ 1616076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44272 w 4755960"/>
              <a:gd name="connsiteY16" fmla="*/ 1616076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29985 w 4755960"/>
              <a:gd name="connsiteY16" fmla="*/ 1630363 h 6977874"/>
              <a:gd name="connsiteX17" fmla="*/ 137816 w 4755960"/>
              <a:gd name="connsiteY17" fmla="*/ 6350 h 6977874"/>
              <a:gd name="connsiteX0" fmla="*/ 142330 w 4760474"/>
              <a:gd name="connsiteY0" fmla="*/ 6350 h 6977874"/>
              <a:gd name="connsiteX1" fmla="*/ 763149 w 4760474"/>
              <a:gd name="connsiteY1" fmla="*/ 0 h 6977874"/>
              <a:gd name="connsiteX2" fmla="*/ 3417450 w 4760474"/>
              <a:gd name="connsiteY2" fmla="*/ 6957060 h 6977874"/>
              <a:gd name="connsiteX3" fmla="*/ 3495555 w 4760474"/>
              <a:gd name="connsiteY3" fmla="*/ 6967537 h 6977874"/>
              <a:gd name="connsiteX4" fmla="*/ 858399 w 4760474"/>
              <a:gd name="connsiteY4" fmla="*/ 0 h 6977874"/>
              <a:gd name="connsiteX5" fmla="*/ 2096649 w 4760474"/>
              <a:gd name="connsiteY5" fmla="*/ 0 h 6977874"/>
              <a:gd name="connsiteX6" fmla="*/ 4760474 w 4760474"/>
              <a:gd name="connsiteY6" fmla="*/ 6350 h 6977874"/>
              <a:gd name="connsiteX7" fmla="*/ 4760474 w 4760474"/>
              <a:gd name="connsiteY7" fmla="*/ 6972300 h 6977874"/>
              <a:gd name="connsiteX8" fmla="*/ 3500000 w 4760474"/>
              <a:gd name="connsiteY8" fmla="*/ 6959600 h 6977874"/>
              <a:gd name="connsiteX9" fmla="*/ 3388240 w 4760474"/>
              <a:gd name="connsiteY9" fmla="*/ 6951980 h 6977874"/>
              <a:gd name="connsiteX10" fmla="*/ 2185550 w 4760474"/>
              <a:gd name="connsiteY10" fmla="*/ 6959600 h 6977874"/>
              <a:gd name="connsiteX11" fmla="*/ 2083950 w 4760474"/>
              <a:gd name="connsiteY11" fmla="*/ 6965950 h 6977874"/>
              <a:gd name="connsiteX12" fmla="*/ 142330 w 4760474"/>
              <a:gd name="connsiteY12" fmla="*/ 6972300 h 6977874"/>
              <a:gd name="connsiteX13" fmla="*/ 155138 w 4760474"/>
              <a:gd name="connsiteY13" fmla="*/ 1883569 h 6977874"/>
              <a:gd name="connsiteX14" fmla="*/ 2083156 w 4760474"/>
              <a:gd name="connsiteY14" fmla="*/ 6970712 h 6977874"/>
              <a:gd name="connsiteX15" fmla="*/ 2183170 w 4760474"/>
              <a:gd name="connsiteY15" fmla="*/ 6956425 h 6977874"/>
              <a:gd name="connsiteX16" fmla="*/ 134499 w 4760474"/>
              <a:gd name="connsiteY16" fmla="*/ 1630363 h 6977874"/>
              <a:gd name="connsiteX17" fmla="*/ 142330 w 4760474"/>
              <a:gd name="connsiteY17" fmla="*/ 6350 h 6977874"/>
              <a:gd name="connsiteX0" fmla="*/ 144363 w 4762507"/>
              <a:gd name="connsiteY0" fmla="*/ 6350 h 6977874"/>
              <a:gd name="connsiteX1" fmla="*/ 765182 w 4762507"/>
              <a:gd name="connsiteY1" fmla="*/ 0 h 6977874"/>
              <a:gd name="connsiteX2" fmla="*/ 3419483 w 4762507"/>
              <a:gd name="connsiteY2" fmla="*/ 6957060 h 6977874"/>
              <a:gd name="connsiteX3" fmla="*/ 3497588 w 4762507"/>
              <a:gd name="connsiteY3" fmla="*/ 6967537 h 6977874"/>
              <a:gd name="connsiteX4" fmla="*/ 860432 w 4762507"/>
              <a:gd name="connsiteY4" fmla="*/ 0 h 6977874"/>
              <a:gd name="connsiteX5" fmla="*/ 2098682 w 4762507"/>
              <a:gd name="connsiteY5" fmla="*/ 0 h 6977874"/>
              <a:gd name="connsiteX6" fmla="*/ 4762507 w 4762507"/>
              <a:gd name="connsiteY6" fmla="*/ 6350 h 6977874"/>
              <a:gd name="connsiteX7" fmla="*/ 4762507 w 4762507"/>
              <a:gd name="connsiteY7" fmla="*/ 6972300 h 6977874"/>
              <a:gd name="connsiteX8" fmla="*/ 3502033 w 4762507"/>
              <a:gd name="connsiteY8" fmla="*/ 6959600 h 6977874"/>
              <a:gd name="connsiteX9" fmla="*/ 3390273 w 4762507"/>
              <a:gd name="connsiteY9" fmla="*/ 6951980 h 6977874"/>
              <a:gd name="connsiteX10" fmla="*/ 2187583 w 4762507"/>
              <a:gd name="connsiteY10" fmla="*/ 6959600 h 6977874"/>
              <a:gd name="connsiteX11" fmla="*/ 2085983 w 4762507"/>
              <a:gd name="connsiteY11" fmla="*/ 6965950 h 6977874"/>
              <a:gd name="connsiteX12" fmla="*/ 144363 w 4762507"/>
              <a:gd name="connsiteY12" fmla="*/ 6972300 h 6977874"/>
              <a:gd name="connsiteX13" fmla="*/ 157171 w 4762507"/>
              <a:gd name="connsiteY13" fmla="*/ 1883569 h 6977874"/>
              <a:gd name="connsiteX14" fmla="*/ 2085189 w 4762507"/>
              <a:gd name="connsiteY14" fmla="*/ 6970712 h 6977874"/>
              <a:gd name="connsiteX15" fmla="*/ 2185203 w 4762507"/>
              <a:gd name="connsiteY15" fmla="*/ 6956425 h 6977874"/>
              <a:gd name="connsiteX16" fmla="*/ 136532 w 4762507"/>
              <a:gd name="connsiteY16" fmla="*/ 1630363 h 6977874"/>
              <a:gd name="connsiteX17" fmla="*/ 144363 w 4762507"/>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8220 w 4626364"/>
              <a:gd name="connsiteY12" fmla="*/ 6972300 h 6977874"/>
              <a:gd name="connsiteX13" fmla="*/ 21028 w 4626364"/>
              <a:gd name="connsiteY13" fmla="*/ 188356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46320 w 4626364"/>
              <a:gd name="connsiteY12" fmla="*/ 6965950 h 6977874"/>
              <a:gd name="connsiteX13" fmla="*/ 21028 w 4626364"/>
              <a:gd name="connsiteY13" fmla="*/ 188356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46320 w 4626364"/>
              <a:gd name="connsiteY12" fmla="*/ 6965950 h 6977874"/>
              <a:gd name="connsiteX13" fmla="*/ 40078 w 4626364"/>
              <a:gd name="connsiteY13" fmla="*/ 194071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350 h 6977874"/>
              <a:gd name="connsiteX7" fmla="*/ 4618340 w 4618340"/>
              <a:gd name="connsiteY7" fmla="*/ 6972300 h 6977874"/>
              <a:gd name="connsiteX8" fmla="*/ 3357866 w 4618340"/>
              <a:gd name="connsiteY8" fmla="*/ 6959600 h 6977874"/>
              <a:gd name="connsiteX9" fmla="*/ 3246106 w 4618340"/>
              <a:gd name="connsiteY9" fmla="*/ 6951980 h 6977874"/>
              <a:gd name="connsiteX10" fmla="*/ 2043416 w 4618340"/>
              <a:gd name="connsiteY10" fmla="*/ 6959600 h 6977874"/>
              <a:gd name="connsiteX11" fmla="*/ 1941816 w 4618340"/>
              <a:gd name="connsiteY11" fmla="*/ 6965950 h 6977874"/>
              <a:gd name="connsiteX12" fmla="*/ 38296 w 4618340"/>
              <a:gd name="connsiteY12" fmla="*/ 6965950 h 6977874"/>
              <a:gd name="connsiteX13" fmla="*/ 32054 w 4618340"/>
              <a:gd name="connsiteY13" fmla="*/ 1940719 h 6977874"/>
              <a:gd name="connsiteX14" fmla="*/ 1941022 w 4618340"/>
              <a:gd name="connsiteY14" fmla="*/ 6970712 h 6977874"/>
              <a:gd name="connsiteX15" fmla="*/ 2041036 w 4618340"/>
              <a:gd name="connsiteY15" fmla="*/ 6956425 h 6977874"/>
              <a:gd name="connsiteX16" fmla="*/ 24115 w 4618340"/>
              <a:gd name="connsiteY16" fmla="*/ 1712913 h 6977874"/>
              <a:gd name="connsiteX17" fmla="*/ 196 w 4618340"/>
              <a:gd name="connsiteY17"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4102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6007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7912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17422 h 6977874"/>
              <a:gd name="connsiteX13" fmla="*/ 197912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17422 h 6977874"/>
              <a:gd name="connsiteX13" fmla="*/ 1984947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82584"/>
              <a:gd name="connsiteX1" fmla="*/ 621015 w 4618340"/>
              <a:gd name="connsiteY1" fmla="*/ 0 h 6982584"/>
              <a:gd name="connsiteX2" fmla="*/ 3275316 w 4618340"/>
              <a:gd name="connsiteY2" fmla="*/ 6957060 h 6982584"/>
              <a:gd name="connsiteX3" fmla="*/ 3353421 w 4618340"/>
              <a:gd name="connsiteY3" fmla="*/ 6967537 h 6982584"/>
              <a:gd name="connsiteX4" fmla="*/ 716265 w 4618340"/>
              <a:gd name="connsiteY4" fmla="*/ 0 h 6982584"/>
              <a:gd name="connsiteX5" fmla="*/ 1954515 w 4618340"/>
              <a:gd name="connsiteY5" fmla="*/ 0 h 6982584"/>
              <a:gd name="connsiteX6" fmla="*/ 4618340 w 4618340"/>
              <a:gd name="connsiteY6" fmla="*/ 6972300 h 6982584"/>
              <a:gd name="connsiteX7" fmla="*/ 3357866 w 4618340"/>
              <a:gd name="connsiteY7" fmla="*/ 6959600 h 6982584"/>
              <a:gd name="connsiteX8" fmla="*/ 3246106 w 4618340"/>
              <a:gd name="connsiteY8" fmla="*/ 6951980 h 6982584"/>
              <a:gd name="connsiteX9" fmla="*/ 2043416 w 4618340"/>
              <a:gd name="connsiteY9" fmla="*/ 6959600 h 6982584"/>
              <a:gd name="connsiteX10" fmla="*/ 1941816 w 4618340"/>
              <a:gd name="connsiteY10" fmla="*/ 6965950 h 6982584"/>
              <a:gd name="connsiteX11" fmla="*/ 38296 w 4618340"/>
              <a:gd name="connsiteY11" fmla="*/ 6965950 h 6982584"/>
              <a:gd name="connsiteX12" fmla="*/ 32054 w 4618340"/>
              <a:gd name="connsiteY12" fmla="*/ 1917422 h 6982584"/>
              <a:gd name="connsiteX13" fmla="*/ 2002419 w 4618340"/>
              <a:gd name="connsiteY13" fmla="*/ 6982360 h 6982584"/>
              <a:gd name="connsiteX14" fmla="*/ 2041036 w 4618340"/>
              <a:gd name="connsiteY14" fmla="*/ 6956425 h 6982584"/>
              <a:gd name="connsiteX15" fmla="*/ 24115 w 4618340"/>
              <a:gd name="connsiteY15" fmla="*/ 1712913 h 6982584"/>
              <a:gd name="connsiteX16" fmla="*/ 196 w 4618340"/>
              <a:gd name="connsiteY16" fmla="*/ 6350 h 6982584"/>
              <a:gd name="connsiteX0" fmla="*/ 196 w 4618340"/>
              <a:gd name="connsiteY0" fmla="*/ 6350 h 6982585"/>
              <a:gd name="connsiteX1" fmla="*/ 621015 w 4618340"/>
              <a:gd name="connsiteY1" fmla="*/ 0 h 6982585"/>
              <a:gd name="connsiteX2" fmla="*/ 3275316 w 4618340"/>
              <a:gd name="connsiteY2" fmla="*/ 6957060 h 6982585"/>
              <a:gd name="connsiteX3" fmla="*/ 3353421 w 4618340"/>
              <a:gd name="connsiteY3" fmla="*/ 6967537 h 6982585"/>
              <a:gd name="connsiteX4" fmla="*/ 716265 w 4618340"/>
              <a:gd name="connsiteY4" fmla="*/ 0 h 6982585"/>
              <a:gd name="connsiteX5" fmla="*/ 1954515 w 4618340"/>
              <a:gd name="connsiteY5" fmla="*/ 0 h 6982585"/>
              <a:gd name="connsiteX6" fmla="*/ 4618340 w 4618340"/>
              <a:gd name="connsiteY6" fmla="*/ 6972300 h 6982585"/>
              <a:gd name="connsiteX7" fmla="*/ 3357866 w 4618340"/>
              <a:gd name="connsiteY7" fmla="*/ 6959600 h 6982585"/>
              <a:gd name="connsiteX8" fmla="*/ 3246106 w 4618340"/>
              <a:gd name="connsiteY8" fmla="*/ 6951980 h 6982585"/>
              <a:gd name="connsiteX9" fmla="*/ 2043416 w 4618340"/>
              <a:gd name="connsiteY9" fmla="*/ 6959600 h 6982585"/>
              <a:gd name="connsiteX10" fmla="*/ 1941816 w 4618340"/>
              <a:gd name="connsiteY10" fmla="*/ 6965950 h 6982585"/>
              <a:gd name="connsiteX11" fmla="*/ 38296 w 4618340"/>
              <a:gd name="connsiteY11" fmla="*/ 6965950 h 6982585"/>
              <a:gd name="connsiteX12" fmla="*/ 32054 w 4618340"/>
              <a:gd name="connsiteY12" fmla="*/ 1946543 h 6982585"/>
              <a:gd name="connsiteX13" fmla="*/ 2002419 w 4618340"/>
              <a:gd name="connsiteY13" fmla="*/ 6982360 h 6982585"/>
              <a:gd name="connsiteX14" fmla="*/ 2041036 w 4618340"/>
              <a:gd name="connsiteY14" fmla="*/ 6956425 h 6982585"/>
              <a:gd name="connsiteX15" fmla="*/ 24115 w 4618340"/>
              <a:gd name="connsiteY15" fmla="*/ 1712913 h 6982585"/>
              <a:gd name="connsiteX16" fmla="*/ 196 w 4618340"/>
              <a:gd name="connsiteY16" fmla="*/ 6350 h 6982585"/>
              <a:gd name="connsiteX0" fmla="*/ 196 w 4618340"/>
              <a:gd name="connsiteY0" fmla="*/ 6350 h 6982585"/>
              <a:gd name="connsiteX1" fmla="*/ 621015 w 4618340"/>
              <a:gd name="connsiteY1" fmla="*/ 0 h 6982585"/>
              <a:gd name="connsiteX2" fmla="*/ 3275316 w 4618340"/>
              <a:gd name="connsiteY2" fmla="*/ 6957060 h 6982585"/>
              <a:gd name="connsiteX3" fmla="*/ 3353421 w 4618340"/>
              <a:gd name="connsiteY3" fmla="*/ 6967537 h 6982585"/>
              <a:gd name="connsiteX4" fmla="*/ 716265 w 4618340"/>
              <a:gd name="connsiteY4" fmla="*/ 0 h 6982585"/>
              <a:gd name="connsiteX5" fmla="*/ 1954515 w 4618340"/>
              <a:gd name="connsiteY5" fmla="*/ 0 h 6982585"/>
              <a:gd name="connsiteX6" fmla="*/ 4618340 w 4618340"/>
              <a:gd name="connsiteY6" fmla="*/ 6972300 h 6982585"/>
              <a:gd name="connsiteX7" fmla="*/ 3357866 w 4618340"/>
              <a:gd name="connsiteY7" fmla="*/ 6959600 h 6982585"/>
              <a:gd name="connsiteX8" fmla="*/ 3246106 w 4618340"/>
              <a:gd name="connsiteY8" fmla="*/ 6951980 h 6982585"/>
              <a:gd name="connsiteX9" fmla="*/ 2043416 w 4618340"/>
              <a:gd name="connsiteY9" fmla="*/ 6959600 h 6982585"/>
              <a:gd name="connsiteX10" fmla="*/ 1941816 w 4618340"/>
              <a:gd name="connsiteY10" fmla="*/ 6965950 h 6982585"/>
              <a:gd name="connsiteX11" fmla="*/ 38296 w 4618340"/>
              <a:gd name="connsiteY11" fmla="*/ 6965950 h 6982585"/>
              <a:gd name="connsiteX12" fmla="*/ 32054 w 4618340"/>
              <a:gd name="connsiteY12" fmla="*/ 1946543 h 6982585"/>
              <a:gd name="connsiteX13" fmla="*/ 1990770 w 4618340"/>
              <a:gd name="connsiteY13" fmla="*/ 6982360 h 6982585"/>
              <a:gd name="connsiteX14" fmla="*/ 2041036 w 4618340"/>
              <a:gd name="connsiteY14" fmla="*/ 6956425 h 6982585"/>
              <a:gd name="connsiteX15" fmla="*/ 24115 w 4618340"/>
              <a:gd name="connsiteY15" fmla="*/ 1712913 h 6982585"/>
              <a:gd name="connsiteX16" fmla="*/ 196 w 4618340"/>
              <a:gd name="connsiteY16" fmla="*/ 6350 h 6982585"/>
              <a:gd name="connsiteX0" fmla="*/ 196 w 4618340"/>
              <a:gd name="connsiteY0" fmla="*/ 6350 h 6982585"/>
              <a:gd name="connsiteX1" fmla="*/ 632921 w 4618340"/>
              <a:gd name="connsiteY1" fmla="*/ 0 h 6982585"/>
              <a:gd name="connsiteX2" fmla="*/ 3275316 w 4618340"/>
              <a:gd name="connsiteY2" fmla="*/ 6957060 h 6982585"/>
              <a:gd name="connsiteX3" fmla="*/ 3353421 w 4618340"/>
              <a:gd name="connsiteY3" fmla="*/ 6967537 h 6982585"/>
              <a:gd name="connsiteX4" fmla="*/ 716265 w 4618340"/>
              <a:gd name="connsiteY4" fmla="*/ 0 h 6982585"/>
              <a:gd name="connsiteX5" fmla="*/ 1954515 w 4618340"/>
              <a:gd name="connsiteY5" fmla="*/ 0 h 6982585"/>
              <a:gd name="connsiteX6" fmla="*/ 4618340 w 4618340"/>
              <a:gd name="connsiteY6" fmla="*/ 6972300 h 6982585"/>
              <a:gd name="connsiteX7" fmla="*/ 3357866 w 4618340"/>
              <a:gd name="connsiteY7" fmla="*/ 6959600 h 6982585"/>
              <a:gd name="connsiteX8" fmla="*/ 3246106 w 4618340"/>
              <a:gd name="connsiteY8" fmla="*/ 6951980 h 6982585"/>
              <a:gd name="connsiteX9" fmla="*/ 2043416 w 4618340"/>
              <a:gd name="connsiteY9" fmla="*/ 6959600 h 6982585"/>
              <a:gd name="connsiteX10" fmla="*/ 1941816 w 4618340"/>
              <a:gd name="connsiteY10" fmla="*/ 6965950 h 6982585"/>
              <a:gd name="connsiteX11" fmla="*/ 38296 w 4618340"/>
              <a:gd name="connsiteY11" fmla="*/ 6965950 h 6982585"/>
              <a:gd name="connsiteX12" fmla="*/ 32054 w 4618340"/>
              <a:gd name="connsiteY12" fmla="*/ 1946543 h 6982585"/>
              <a:gd name="connsiteX13" fmla="*/ 1990770 w 4618340"/>
              <a:gd name="connsiteY13" fmla="*/ 6982360 h 6982585"/>
              <a:gd name="connsiteX14" fmla="*/ 2041036 w 4618340"/>
              <a:gd name="connsiteY14" fmla="*/ 6956425 h 6982585"/>
              <a:gd name="connsiteX15" fmla="*/ 24115 w 4618340"/>
              <a:gd name="connsiteY15" fmla="*/ 1712913 h 6982585"/>
              <a:gd name="connsiteX16" fmla="*/ 196 w 4618340"/>
              <a:gd name="connsiteY16" fmla="*/ 6350 h 6982585"/>
              <a:gd name="connsiteX0" fmla="*/ 214 w 4618358"/>
              <a:gd name="connsiteY0" fmla="*/ 6350 h 6982585"/>
              <a:gd name="connsiteX1" fmla="*/ 632939 w 4618358"/>
              <a:gd name="connsiteY1" fmla="*/ 0 h 6982585"/>
              <a:gd name="connsiteX2" fmla="*/ 3275334 w 4618358"/>
              <a:gd name="connsiteY2" fmla="*/ 6957060 h 6982585"/>
              <a:gd name="connsiteX3" fmla="*/ 3353439 w 4618358"/>
              <a:gd name="connsiteY3" fmla="*/ 6967537 h 6982585"/>
              <a:gd name="connsiteX4" fmla="*/ 716283 w 4618358"/>
              <a:gd name="connsiteY4" fmla="*/ 0 h 6982585"/>
              <a:gd name="connsiteX5" fmla="*/ 1954533 w 4618358"/>
              <a:gd name="connsiteY5" fmla="*/ 0 h 6982585"/>
              <a:gd name="connsiteX6" fmla="*/ 4618358 w 4618358"/>
              <a:gd name="connsiteY6" fmla="*/ 6972300 h 6982585"/>
              <a:gd name="connsiteX7" fmla="*/ 3357884 w 4618358"/>
              <a:gd name="connsiteY7" fmla="*/ 6959600 h 6982585"/>
              <a:gd name="connsiteX8" fmla="*/ 3246124 w 4618358"/>
              <a:gd name="connsiteY8" fmla="*/ 6951980 h 6982585"/>
              <a:gd name="connsiteX9" fmla="*/ 2043434 w 4618358"/>
              <a:gd name="connsiteY9" fmla="*/ 6959600 h 6982585"/>
              <a:gd name="connsiteX10" fmla="*/ 1941834 w 4618358"/>
              <a:gd name="connsiteY10" fmla="*/ 6965950 h 6982585"/>
              <a:gd name="connsiteX11" fmla="*/ 38314 w 4618358"/>
              <a:gd name="connsiteY11" fmla="*/ 6965950 h 6982585"/>
              <a:gd name="connsiteX12" fmla="*/ 32072 w 4618358"/>
              <a:gd name="connsiteY12" fmla="*/ 1946543 h 6982585"/>
              <a:gd name="connsiteX13" fmla="*/ 1990788 w 4618358"/>
              <a:gd name="connsiteY13" fmla="*/ 6982360 h 6982585"/>
              <a:gd name="connsiteX14" fmla="*/ 2041054 w 4618358"/>
              <a:gd name="connsiteY14" fmla="*/ 6956425 h 6982585"/>
              <a:gd name="connsiteX15" fmla="*/ 21752 w 4618358"/>
              <a:gd name="connsiteY15" fmla="*/ 1629569 h 6982585"/>
              <a:gd name="connsiteX16" fmla="*/ 214 w 4618358"/>
              <a:gd name="connsiteY16" fmla="*/ 6350 h 6982585"/>
              <a:gd name="connsiteX0" fmla="*/ 214 w 4618358"/>
              <a:gd name="connsiteY0" fmla="*/ 6350 h 7366254"/>
              <a:gd name="connsiteX1" fmla="*/ 632939 w 4618358"/>
              <a:gd name="connsiteY1" fmla="*/ 0 h 7366254"/>
              <a:gd name="connsiteX2" fmla="*/ 3275334 w 4618358"/>
              <a:gd name="connsiteY2" fmla="*/ 6957060 h 7366254"/>
              <a:gd name="connsiteX3" fmla="*/ 3353439 w 4618358"/>
              <a:gd name="connsiteY3" fmla="*/ 6967537 h 7366254"/>
              <a:gd name="connsiteX4" fmla="*/ 716283 w 4618358"/>
              <a:gd name="connsiteY4" fmla="*/ 0 h 7366254"/>
              <a:gd name="connsiteX5" fmla="*/ 1954533 w 4618358"/>
              <a:gd name="connsiteY5" fmla="*/ 0 h 7366254"/>
              <a:gd name="connsiteX6" fmla="*/ 4618358 w 4618358"/>
              <a:gd name="connsiteY6" fmla="*/ 6972300 h 7366254"/>
              <a:gd name="connsiteX7" fmla="*/ 3357884 w 4618358"/>
              <a:gd name="connsiteY7" fmla="*/ 6959600 h 7366254"/>
              <a:gd name="connsiteX8" fmla="*/ 3246124 w 4618358"/>
              <a:gd name="connsiteY8" fmla="*/ 6951980 h 7366254"/>
              <a:gd name="connsiteX9" fmla="*/ 2043434 w 4618358"/>
              <a:gd name="connsiteY9" fmla="*/ 6959600 h 7366254"/>
              <a:gd name="connsiteX10" fmla="*/ 1941834 w 4618358"/>
              <a:gd name="connsiteY10" fmla="*/ 6965950 h 7366254"/>
              <a:gd name="connsiteX11" fmla="*/ 38314 w 4618358"/>
              <a:gd name="connsiteY11" fmla="*/ 6965950 h 7366254"/>
              <a:gd name="connsiteX12" fmla="*/ 39216 w 4618358"/>
              <a:gd name="connsiteY12" fmla="*/ 1858436 h 7366254"/>
              <a:gd name="connsiteX13" fmla="*/ 1990788 w 4618358"/>
              <a:gd name="connsiteY13" fmla="*/ 6982360 h 7366254"/>
              <a:gd name="connsiteX14" fmla="*/ 2041054 w 4618358"/>
              <a:gd name="connsiteY14" fmla="*/ 6956425 h 7366254"/>
              <a:gd name="connsiteX15" fmla="*/ 21752 w 4618358"/>
              <a:gd name="connsiteY15" fmla="*/ 1629569 h 7366254"/>
              <a:gd name="connsiteX16" fmla="*/ 214 w 4618358"/>
              <a:gd name="connsiteY16" fmla="*/ 6350 h 7366254"/>
              <a:gd name="connsiteX0" fmla="*/ 214 w 4618358"/>
              <a:gd name="connsiteY0" fmla="*/ 6350 h 6987302"/>
              <a:gd name="connsiteX1" fmla="*/ 632939 w 4618358"/>
              <a:gd name="connsiteY1" fmla="*/ 0 h 6987302"/>
              <a:gd name="connsiteX2" fmla="*/ 3275334 w 4618358"/>
              <a:gd name="connsiteY2" fmla="*/ 6957060 h 6987302"/>
              <a:gd name="connsiteX3" fmla="*/ 3353439 w 4618358"/>
              <a:gd name="connsiteY3" fmla="*/ 6967537 h 6987302"/>
              <a:gd name="connsiteX4" fmla="*/ 716283 w 4618358"/>
              <a:gd name="connsiteY4" fmla="*/ 0 h 6987302"/>
              <a:gd name="connsiteX5" fmla="*/ 1954533 w 4618358"/>
              <a:gd name="connsiteY5" fmla="*/ 0 h 6987302"/>
              <a:gd name="connsiteX6" fmla="*/ 4618358 w 4618358"/>
              <a:gd name="connsiteY6" fmla="*/ 6972300 h 6987302"/>
              <a:gd name="connsiteX7" fmla="*/ 3357884 w 4618358"/>
              <a:gd name="connsiteY7" fmla="*/ 6959600 h 6987302"/>
              <a:gd name="connsiteX8" fmla="*/ 3246124 w 4618358"/>
              <a:gd name="connsiteY8" fmla="*/ 6951980 h 6987302"/>
              <a:gd name="connsiteX9" fmla="*/ 2043434 w 4618358"/>
              <a:gd name="connsiteY9" fmla="*/ 6959600 h 6987302"/>
              <a:gd name="connsiteX10" fmla="*/ 1941834 w 4618358"/>
              <a:gd name="connsiteY10" fmla="*/ 6965950 h 6987302"/>
              <a:gd name="connsiteX11" fmla="*/ 38314 w 4618358"/>
              <a:gd name="connsiteY11" fmla="*/ 6965950 h 6987302"/>
              <a:gd name="connsiteX12" fmla="*/ 39216 w 4618358"/>
              <a:gd name="connsiteY12" fmla="*/ 1858436 h 6987302"/>
              <a:gd name="connsiteX13" fmla="*/ 1990788 w 4618358"/>
              <a:gd name="connsiteY13" fmla="*/ 6982360 h 6987302"/>
              <a:gd name="connsiteX14" fmla="*/ 2041054 w 4618358"/>
              <a:gd name="connsiteY14" fmla="*/ 6956425 h 6987302"/>
              <a:gd name="connsiteX15" fmla="*/ 21752 w 4618358"/>
              <a:gd name="connsiteY15" fmla="*/ 1629569 h 6987302"/>
              <a:gd name="connsiteX16" fmla="*/ 214 w 4618358"/>
              <a:gd name="connsiteY16" fmla="*/ 6350 h 6987302"/>
              <a:gd name="connsiteX0" fmla="*/ 214 w 4618358"/>
              <a:gd name="connsiteY0" fmla="*/ 6350 h 6982380"/>
              <a:gd name="connsiteX1" fmla="*/ 632939 w 4618358"/>
              <a:gd name="connsiteY1" fmla="*/ 0 h 6982380"/>
              <a:gd name="connsiteX2" fmla="*/ 3275334 w 4618358"/>
              <a:gd name="connsiteY2" fmla="*/ 6957060 h 6982380"/>
              <a:gd name="connsiteX3" fmla="*/ 3353439 w 4618358"/>
              <a:gd name="connsiteY3" fmla="*/ 6967537 h 6982380"/>
              <a:gd name="connsiteX4" fmla="*/ 716283 w 4618358"/>
              <a:gd name="connsiteY4" fmla="*/ 0 h 6982380"/>
              <a:gd name="connsiteX5" fmla="*/ 1954533 w 4618358"/>
              <a:gd name="connsiteY5" fmla="*/ 0 h 6982380"/>
              <a:gd name="connsiteX6" fmla="*/ 4618358 w 4618358"/>
              <a:gd name="connsiteY6" fmla="*/ 6972300 h 6982380"/>
              <a:gd name="connsiteX7" fmla="*/ 3357884 w 4618358"/>
              <a:gd name="connsiteY7" fmla="*/ 6959600 h 6982380"/>
              <a:gd name="connsiteX8" fmla="*/ 3246124 w 4618358"/>
              <a:gd name="connsiteY8" fmla="*/ 6951980 h 6982380"/>
              <a:gd name="connsiteX9" fmla="*/ 2043434 w 4618358"/>
              <a:gd name="connsiteY9" fmla="*/ 6959600 h 6982380"/>
              <a:gd name="connsiteX10" fmla="*/ 1941834 w 4618358"/>
              <a:gd name="connsiteY10" fmla="*/ 6965950 h 6982380"/>
              <a:gd name="connsiteX11" fmla="*/ 38314 w 4618358"/>
              <a:gd name="connsiteY11" fmla="*/ 6965950 h 6982380"/>
              <a:gd name="connsiteX12" fmla="*/ 39216 w 4618358"/>
              <a:gd name="connsiteY12" fmla="*/ 1858436 h 6982380"/>
              <a:gd name="connsiteX13" fmla="*/ 1990788 w 4618358"/>
              <a:gd name="connsiteY13" fmla="*/ 6982360 h 6982380"/>
              <a:gd name="connsiteX14" fmla="*/ 2041054 w 4618358"/>
              <a:gd name="connsiteY14" fmla="*/ 6956425 h 6982380"/>
              <a:gd name="connsiteX15" fmla="*/ 21752 w 4618358"/>
              <a:gd name="connsiteY15" fmla="*/ 1629569 h 6982380"/>
              <a:gd name="connsiteX16" fmla="*/ 214 w 4618358"/>
              <a:gd name="connsiteY16" fmla="*/ 6350 h 6982380"/>
              <a:gd name="connsiteX0" fmla="*/ 214 w 4618358"/>
              <a:gd name="connsiteY0" fmla="*/ 6350 h 6972855"/>
              <a:gd name="connsiteX1" fmla="*/ 632939 w 4618358"/>
              <a:gd name="connsiteY1" fmla="*/ 0 h 6972855"/>
              <a:gd name="connsiteX2" fmla="*/ 3275334 w 4618358"/>
              <a:gd name="connsiteY2" fmla="*/ 6957060 h 6972855"/>
              <a:gd name="connsiteX3" fmla="*/ 3353439 w 4618358"/>
              <a:gd name="connsiteY3" fmla="*/ 6967537 h 6972855"/>
              <a:gd name="connsiteX4" fmla="*/ 716283 w 4618358"/>
              <a:gd name="connsiteY4" fmla="*/ 0 h 6972855"/>
              <a:gd name="connsiteX5" fmla="*/ 1954533 w 4618358"/>
              <a:gd name="connsiteY5" fmla="*/ 0 h 6972855"/>
              <a:gd name="connsiteX6" fmla="*/ 4618358 w 4618358"/>
              <a:gd name="connsiteY6" fmla="*/ 6972300 h 6972855"/>
              <a:gd name="connsiteX7" fmla="*/ 3357884 w 4618358"/>
              <a:gd name="connsiteY7" fmla="*/ 6959600 h 6972855"/>
              <a:gd name="connsiteX8" fmla="*/ 3246124 w 4618358"/>
              <a:gd name="connsiteY8" fmla="*/ 6951980 h 6972855"/>
              <a:gd name="connsiteX9" fmla="*/ 2043434 w 4618358"/>
              <a:gd name="connsiteY9" fmla="*/ 6959600 h 6972855"/>
              <a:gd name="connsiteX10" fmla="*/ 1941834 w 4618358"/>
              <a:gd name="connsiteY10" fmla="*/ 6965950 h 6972855"/>
              <a:gd name="connsiteX11" fmla="*/ 38314 w 4618358"/>
              <a:gd name="connsiteY11" fmla="*/ 6965950 h 6972855"/>
              <a:gd name="connsiteX12" fmla="*/ 39216 w 4618358"/>
              <a:gd name="connsiteY12" fmla="*/ 1858436 h 6972855"/>
              <a:gd name="connsiteX13" fmla="*/ 1986026 w 4618358"/>
              <a:gd name="connsiteY13" fmla="*/ 6972835 h 6972855"/>
              <a:gd name="connsiteX14" fmla="*/ 2041054 w 4618358"/>
              <a:gd name="connsiteY14" fmla="*/ 6956425 h 6972855"/>
              <a:gd name="connsiteX15" fmla="*/ 21752 w 4618358"/>
              <a:gd name="connsiteY15" fmla="*/ 1629569 h 6972855"/>
              <a:gd name="connsiteX16" fmla="*/ 214 w 4618358"/>
              <a:gd name="connsiteY16" fmla="*/ 6350 h 6972855"/>
              <a:gd name="connsiteX0" fmla="*/ 214 w 4618358"/>
              <a:gd name="connsiteY0" fmla="*/ 6350 h 7346830"/>
              <a:gd name="connsiteX1" fmla="*/ 632939 w 4618358"/>
              <a:gd name="connsiteY1" fmla="*/ 0 h 7346830"/>
              <a:gd name="connsiteX2" fmla="*/ 3275334 w 4618358"/>
              <a:gd name="connsiteY2" fmla="*/ 6957060 h 7346830"/>
              <a:gd name="connsiteX3" fmla="*/ 3353439 w 4618358"/>
              <a:gd name="connsiteY3" fmla="*/ 6967537 h 7346830"/>
              <a:gd name="connsiteX4" fmla="*/ 716283 w 4618358"/>
              <a:gd name="connsiteY4" fmla="*/ 0 h 7346830"/>
              <a:gd name="connsiteX5" fmla="*/ 1954533 w 4618358"/>
              <a:gd name="connsiteY5" fmla="*/ 0 h 7346830"/>
              <a:gd name="connsiteX6" fmla="*/ 4618358 w 4618358"/>
              <a:gd name="connsiteY6" fmla="*/ 6972300 h 7346830"/>
              <a:gd name="connsiteX7" fmla="*/ 3357884 w 4618358"/>
              <a:gd name="connsiteY7" fmla="*/ 6959600 h 7346830"/>
              <a:gd name="connsiteX8" fmla="*/ 3246124 w 4618358"/>
              <a:gd name="connsiteY8" fmla="*/ 6951980 h 7346830"/>
              <a:gd name="connsiteX9" fmla="*/ 2043434 w 4618358"/>
              <a:gd name="connsiteY9" fmla="*/ 6959600 h 7346830"/>
              <a:gd name="connsiteX10" fmla="*/ 1941834 w 4618358"/>
              <a:gd name="connsiteY10" fmla="*/ 6965950 h 7346830"/>
              <a:gd name="connsiteX11" fmla="*/ 38314 w 4618358"/>
              <a:gd name="connsiteY11" fmla="*/ 6965950 h 7346830"/>
              <a:gd name="connsiteX12" fmla="*/ 39216 w 4618358"/>
              <a:gd name="connsiteY12" fmla="*/ 1860817 h 7346830"/>
              <a:gd name="connsiteX13" fmla="*/ 1986026 w 4618358"/>
              <a:gd name="connsiteY13" fmla="*/ 6972835 h 7346830"/>
              <a:gd name="connsiteX14" fmla="*/ 2041054 w 4618358"/>
              <a:gd name="connsiteY14" fmla="*/ 6956425 h 7346830"/>
              <a:gd name="connsiteX15" fmla="*/ 21752 w 4618358"/>
              <a:gd name="connsiteY15" fmla="*/ 1629569 h 7346830"/>
              <a:gd name="connsiteX16" fmla="*/ 214 w 4618358"/>
              <a:gd name="connsiteY16" fmla="*/ 6350 h 7346830"/>
              <a:gd name="connsiteX0" fmla="*/ 214 w 4618358"/>
              <a:gd name="connsiteY0" fmla="*/ 6350 h 6972835"/>
              <a:gd name="connsiteX1" fmla="*/ 632939 w 4618358"/>
              <a:gd name="connsiteY1" fmla="*/ 0 h 6972835"/>
              <a:gd name="connsiteX2" fmla="*/ 3275334 w 4618358"/>
              <a:gd name="connsiteY2" fmla="*/ 6957060 h 6972835"/>
              <a:gd name="connsiteX3" fmla="*/ 3353439 w 4618358"/>
              <a:gd name="connsiteY3" fmla="*/ 6967537 h 6972835"/>
              <a:gd name="connsiteX4" fmla="*/ 716283 w 4618358"/>
              <a:gd name="connsiteY4" fmla="*/ 0 h 6972835"/>
              <a:gd name="connsiteX5" fmla="*/ 1954533 w 4618358"/>
              <a:gd name="connsiteY5" fmla="*/ 0 h 6972835"/>
              <a:gd name="connsiteX6" fmla="*/ 4618358 w 4618358"/>
              <a:gd name="connsiteY6" fmla="*/ 6972300 h 6972835"/>
              <a:gd name="connsiteX7" fmla="*/ 3357884 w 4618358"/>
              <a:gd name="connsiteY7" fmla="*/ 6959600 h 6972835"/>
              <a:gd name="connsiteX8" fmla="*/ 3246124 w 4618358"/>
              <a:gd name="connsiteY8" fmla="*/ 6951980 h 6972835"/>
              <a:gd name="connsiteX9" fmla="*/ 2043434 w 4618358"/>
              <a:gd name="connsiteY9" fmla="*/ 6959600 h 6972835"/>
              <a:gd name="connsiteX10" fmla="*/ 1941834 w 4618358"/>
              <a:gd name="connsiteY10" fmla="*/ 6965950 h 6972835"/>
              <a:gd name="connsiteX11" fmla="*/ 38314 w 4618358"/>
              <a:gd name="connsiteY11" fmla="*/ 6965950 h 6972835"/>
              <a:gd name="connsiteX12" fmla="*/ 39216 w 4618358"/>
              <a:gd name="connsiteY12" fmla="*/ 1860817 h 6972835"/>
              <a:gd name="connsiteX13" fmla="*/ 1986026 w 4618358"/>
              <a:gd name="connsiteY13" fmla="*/ 6972835 h 6972835"/>
              <a:gd name="connsiteX14" fmla="*/ 2041054 w 4618358"/>
              <a:gd name="connsiteY14" fmla="*/ 6956425 h 6972835"/>
              <a:gd name="connsiteX15" fmla="*/ 21752 w 4618358"/>
              <a:gd name="connsiteY15" fmla="*/ 1629569 h 6972835"/>
              <a:gd name="connsiteX16" fmla="*/ 214 w 4618358"/>
              <a:gd name="connsiteY16" fmla="*/ 6350 h 6972835"/>
              <a:gd name="connsiteX0" fmla="*/ 214 w 4618358"/>
              <a:gd name="connsiteY0" fmla="*/ 6350 h 7346830"/>
              <a:gd name="connsiteX1" fmla="*/ 632939 w 4618358"/>
              <a:gd name="connsiteY1" fmla="*/ 0 h 7346830"/>
              <a:gd name="connsiteX2" fmla="*/ 3275334 w 4618358"/>
              <a:gd name="connsiteY2" fmla="*/ 6957060 h 7346830"/>
              <a:gd name="connsiteX3" fmla="*/ 3353439 w 4618358"/>
              <a:gd name="connsiteY3" fmla="*/ 6967537 h 7346830"/>
              <a:gd name="connsiteX4" fmla="*/ 716283 w 4618358"/>
              <a:gd name="connsiteY4" fmla="*/ 0 h 7346830"/>
              <a:gd name="connsiteX5" fmla="*/ 1954533 w 4618358"/>
              <a:gd name="connsiteY5" fmla="*/ 0 h 7346830"/>
              <a:gd name="connsiteX6" fmla="*/ 4618358 w 4618358"/>
              <a:gd name="connsiteY6" fmla="*/ 6972300 h 7346830"/>
              <a:gd name="connsiteX7" fmla="*/ 3357884 w 4618358"/>
              <a:gd name="connsiteY7" fmla="*/ 6959600 h 7346830"/>
              <a:gd name="connsiteX8" fmla="*/ 3246124 w 4618358"/>
              <a:gd name="connsiteY8" fmla="*/ 6951980 h 7346830"/>
              <a:gd name="connsiteX9" fmla="*/ 2043434 w 4618358"/>
              <a:gd name="connsiteY9" fmla="*/ 6959600 h 7346830"/>
              <a:gd name="connsiteX10" fmla="*/ 1941834 w 4618358"/>
              <a:gd name="connsiteY10" fmla="*/ 6965950 h 7346830"/>
              <a:gd name="connsiteX11" fmla="*/ 38314 w 4618358"/>
              <a:gd name="connsiteY11" fmla="*/ 6965950 h 7346830"/>
              <a:gd name="connsiteX12" fmla="*/ 29691 w 4618358"/>
              <a:gd name="connsiteY12" fmla="*/ 1860817 h 7346830"/>
              <a:gd name="connsiteX13" fmla="*/ 1986026 w 4618358"/>
              <a:gd name="connsiteY13" fmla="*/ 6972835 h 7346830"/>
              <a:gd name="connsiteX14" fmla="*/ 2041054 w 4618358"/>
              <a:gd name="connsiteY14" fmla="*/ 6956425 h 7346830"/>
              <a:gd name="connsiteX15" fmla="*/ 21752 w 4618358"/>
              <a:gd name="connsiteY15" fmla="*/ 1629569 h 7346830"/>
              <a:gd name="connsiteX16" fmla="*/ 214 w 4618358"/>
              <a:gd name="connsiteY16" fmla="*/ 6350 h 7346830"/>
              <a:gd name="connsiteX0" fmla="*/ 214 w 4618358"/>
              <a:gd name="connsiteY0" fmla="*/ 6350 h 7344465"/>
              <a:gd name="connsiteX1" fmla="*/ 632939 w 4618358"/>
              <a:gd name="connsiteY1" fmla="*/ 0 h 7344465"/>
              <a:gd name="connsiteX2" fmla="*/ 3275334 w 4618358"/>
              <a:gd name="connsiteY2" fmla="*/ 6957060 h 7344465"/>
              <a:gd name="connsiteX3" fmla="*/ 3353439 w 4618358"/>
              <a:gd name="connsiteY3" fmla="*/ 6967537 h 7344465"/>
              <a:gd name="connsiteX4" fmla="*/ 716283 w 4618358"/>
              <a:gd name="connsiteY4" fmla="*/ 0 h 7344465"/>
              <a:gd name="connsiteX5" fmla="*/ 1954533 w 4618358"/>
              <a:gd name="connsiteY5" fmla="*/ 0 h 7344465"/>
              <a:gd name="connsiteX6" fmla="*/ 4618358 w 4618358"/>
              <a:gd name="connsiteY6" fmla="*/ 6972300 h 7344465"/>
              <a:gd name="connsiteX7" fmla="*/ 3357884 w 4618358"/>
              <a:gd name="connsiteY7" fmla="*/ 6959600 h 7344465"/>
              <a:gd name="connsiteX8" fmla="*/ 3246124 w 4618358"/>
              <a:gd name="connsiteY8" fmla="*/ 6951980 h 7344465"/>
              <a:gd name="connsiteX9" fmla="*/ 2043434 w 4618358"/>
              <a:gd name="connsiteY9" fmla="*/ 6959600 h 7344465"/>
              <a:gd name="connsiteX10" fmla="*/ 1941834 w 4618358"/>
              <a:gd name="connsiteY10" fmla="*/ 6965950 h 7344465"/>
              <a:gd name="connsiteX11" fmla="*/ 38314 w 4618358"/>
              <a:gd name="connsiteY11" fmla="*/ 6965950 h 7344465"/>
              <a:gd name="connsiteX12" fmla="*/ 29691 w 4618358"/>
              <a:gd name="connsiteY12" fmla="*/ 1860817 h 7344465"/>
              <a:gd name="connsiteX13" fmla="*/ 1979676 w 4618358"/>
              <a:gd name="connsiteY13" fmla="*/ 6969660 h 7344465"/>
              <a:gd name="connsiteX14" fmla="*/ 2041054 w 4618358"/>
              <a:gd name="connsiteY14" fmla="*/ 6956425 h 7344465"/>
              <a:gd name="connsiteX15" fmla="*/ 21752 w 4618358"/>
              <a:gd name="connsiteY15" fmla="*/ 1629569 h 7344465"/>
              <a:gd name="connsiteX16" fmla="*/ 214 w 4618358"/>
              <a:gd name="connsiteY16" fmla="*/ 6350 h 7344465"/>
              <a:gd name="connsiteX0" fmla="*/ 214 w 4618358"/>
              <a:gd name="connsiteY0" fmla="*/ 6350 h 6979468"/>
              <a:gd name="connsiteX1" fmla="*/ 632939 w 4618358"/>
              <a:gd name="connsiteY1" fmla="*/ 0 h 6979468"/>
              <a:gd name="connsiteX2" fmla="*/ 3275334 w 4618358"/>
              <a:gd name="connsiteY2" fmla="*/ 6957060 h 6979468"/>
              <a:gd name="connsiteX3" fmla="*/ 3353439 w 4618358"/>
              <a:gd name="connsiteY3" fmla="*/ 6967537 h 6979468"/>
              <a:gd name="connsiteX4" fmla="*/ 716283 w 4618358"/>
              <a:gd name="connsiteY4" fmla="*/ 0 h 6979468"/>
              <a:gd name="connsiteX5" fmla="*/ 1954533 w 4618358"/>
              <a:gd name="connsiteY5" fmla="*/ 0 h 6979468"/>
              <a:gd name="connsiteX6" fmla="*/ 4618358 w 4618358"/>
              <a:gd name="connsiteY6" fmla="*/ 6972300 h 6979468"/>
              <a:gd name="connsiteX7" fmla="*/ 3357884 w 4618358"/>
              <a:gd name="connsiteY7" fmla="*/ 6959600 h 6979468"/>
              <a:gd name="connsiteX8" fmla="*/ 3246124 w 4618358"/>
              <a:gd name="connsiteY8" fmla="*/ 6951980 h 6979468"/>
              <a:gd name="connsiteX9" fmla="*/ 2043434 w 4618358"/>
              <a:gd name="connsiteY9" fmla="*/ 6959600 h 6979468"/>
              <a:gd name="connsiteX10" fmla="*/ 1941834 w 4618358"/>
              <a:gd name="connsiteY10" fmla="*/ 6965950 h 6979468"/>
              <a:gd name="connsiteX11" fmla="*/ 38314 w 4618358"/>
              <a:gd name="connsiteY11" fmla="*/ 6965950 h 6979468"/>
              <a:gd name="connsiteX12" fmla="*/ 29691 w 4618358"/>
              <a:gd name="connsiteY12" fmla="*/ 1860817 h 6979468"/>
              <a:gd name="connsiteX13" fmla="*/ 1979676 w 4618358"/>
              <a:gd name="connsiteY13" fmla="*/ 6969660 h 6979468"/>
              <a:gd name="connsiteX14" fmla="*/ 2041054 w 4618358"/>
              <a:gd name="connsiteY14" fmla="*/ 6956425 h 6979468"/>
              <a:gd name="connsiteX15" fmla="*/ 21752 w 4618358"/>
              <a:gd name="connsiteY15" fmla="*/ 1629569 h 6979468"/>
              <a:gd name="connsiteX16" fmla="*/ 214 w 4618358"/>
              <a:gd name="connsiteY16" fmla="*/ 6350 h 6979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8358" h="6979468">
                <a:moveTo>
                  <a:pt x="214" y="6350"/>
                </a:moveTo>
                <a:lnTo>
                  <a:pt x="632939" y="0"/>
                </a:lnTo>
                <a:lnTo>
                  <a:pt x="3275334" y="6957060"/>
                </a:lnTo>
                <a:lnTo>
                  <a:pt x="3353439" y="6967537"/>
                </a:lnTo>
                <a:lnTo>
                  <a:pt x="716283" y="0"/>
                </a:lnTo>
                <a:lnTo>
                  <a:pt x="1954533" y="0"/>
                </a:lnTo>
                <a:lnTo>
                  <a:pt x="4618358" y="6972300"/>
                </a:lnTo>
                <a:lnTo>
                  <a:pt x="3357884" y="6959600"/>
                </a:lnTo>
                <a:lnTo>
                  <a:pt x="3246124" y="6951980"/>
                </a:lnTo>
                <a:lnTo>
                  <a:pt x="2043434" y="6959600"/>
                </a:lnTo>
                <a:lnTo>
                  <a:pt x="1941834" y="6965950"/>
                </a:lnTo>
                <a:lnTo>
                  <a:pt x="38314" y="6965950"/>
                </a:lnTo>
                <a:cubicBezTo>
                  <a:pt x="44664" y="6792383"/>
                  <a:pt x="25704" y="1869812"/>
                  <a:pt x="29691" y="1860817"/>
                </a:cubicBezTo>
                <a:cubicBezTo>
                  <a:pt x="33678" y="1866109"/>
                  <a:pt x="1961949" y="6942717"/>
                  <a:pt x="1979676" y="6969660"/>
                </a:cubicBezTo>
                <a:cubicBezTo>
                  <a:pt x="1997403" y="6996603"/>
                  <a:pt x="2041583" y="6959864"/>
                  <a:pt x="2041054" y="6956425"/>
                </a:cubicBezTo>
                <a:cubicBezTo>
                  <a:pt x="2045287" y="6898217"/>
                  <a:pt x="14626" y="1635390"/>
                  <a:pt x="21752" y="1629569"/>
                </a:cubicBezTo>
                <a:cubicBezTo>
                  <a:pt x="19600" y="1632744"/>
                  <a:pt x="-2396" y="546100"/>
                  <a:pt x="214" y="6350"/>
                </a:cubicBezTo>
                <a:close/>
              </a:path>
            </a:pathLst>
          </a:custGeom>
          <a:solidFill>
            <a:schemeClr val="bg1">
              <a:lumMod val="65000"/>
            </a:schemeClr>
          </a:solidFill>
        </p:spPr>
        <p:txBody>
          <a:bodyPr lIns="684000" tIns="3096000"/>
          <a:lstStyle>
            <a:lvl1pPr>
              <a:defRPr sz="1200" b="1">
                <a:solidFill>
                  <a:schemeClr val="tx1"/>
                </a:solidFill>
              </a:defRPr>
            </a:lvl1pPr>
          </a:lstStyle>
          <a:p>
            <a:r>
              <a:rPr lang="en-AU" dirty="0"/>
              <a:t>               Picture</a:t>
            </a:r>
            <a:endParaRPr lang="en-US" dirty="0"/>
          </a:p>
        </p:txBody>
      </p:sp>
      <p:sp>
        <p:nvSpPr>
          <p:cNvPr id="7" name="Text Placeholder 26"/>
          <p:cNvSpPr>
            <a:spLocks noGrp="1"/>
          </p:cNvSpPr>
          <p:nvPr>
            <p:ph type="body" sz="quarter" idx="11"/>
          </p:nvPr>
        </p:nvSpPr>
        <p:spPr>
          <a:xfrm>
            <a:off x="4479359" y="3859468"/>
            <a:ext cx="4354126" cy="677333"/>
          </a:xfrm>
          <a:prstGeom prst="rect">
            <a:avLst/>
          </a:prstGeom>
        </p:spPr>
        <p:txBody>
          <a:bodyPr lIns="0" tIns="0" rIns="0" bIns="0">
            <a:noAutofit/>
          </a:bodyPr>
          <a:lstStyle>
            <a:lvl1pPr>
              <a:spcBef>
                <a:spcPts val="0"/>
              </a:spcBef>
              <a:spcAft>
                <a:spcPts val="0"/>
              </a:spcAft>
              <a:defRPr sz="1000">
                <a:solidFill>
                  <a:schemeClr val="bg1"/>
                </a:solidFill>
              </a:defRPr>
            </a:lvl1pPr>
          </a:lstStyle>
          <a:p>
            <a:pPr lvl="0"/>
            <a:r>
              <a:rPr lang="en-US" dirty="0"/>
              <a:t>Click to edit Master text styles</a:t>
            </a:r>
          </a:p>
        </p:txBody>
      </p:sp>
      <p:sp>
        <p:nvSpPr>
          <p:cNvPr id="8" name="Title 28"/>
          <p:cNvSpPr>
            <a:spLocks noGrp="1"/>
          </p:cNvSpPr>
          <p:nvPr>
            <p:ph type="title"/>
          </p:nvPr>
        </p:nvSpPr>
        <p:spPr>
          <a:xfrm>
            <a:off x="4490471" y="1229919"/>
            <a:ext cx="4343012" cy="1711401"/>
          </a:xfrm>
        </p:spPr>
        <p:txBody>
          <a:bodyPr>
            <a:noAutofit/>
          </a:bodyPr>
          <a:lstStyle>
            <a:lvl1pPr>
              <a:lnSpc>
                <a:spcPts val="2800"/>
              </a:lnSpc>
              <a:defRPr sz="2800">
                <a:solidFill>
                  <a:schemeClr val="bg1"/>
                </a:solidFill>
              </a:defRPr>
            </a:lvl1pPr>
          </a:lstStyle>
          <a:p>
            <a:r>
              <a:rPr lang="en-US" dirty="0"/>
              <a:t>Click to edit Master title style</a:t>
            </a:r>
          </a:p>
        </p:txBody>
      </p:sp>
      <p:sp>
        <p:nvSpPr>
          <p:cNvPr id="9" name="Text Placeholder 32"/>
          <p:cNvSpPr>
            <a:spLocks noGrp="1"/>
          </p:cNvSpPr>
          <p:nvPr>
            <p:ph type="body" sz="quarter" idx="13"/>
          </p:nvPr>
        </p:nvSpPr>
        <p:spPr>
          <a:xfrm>
            <a:off x="4490471" y="3165203"/>
            <a:ext cx="4327774" cy="601133"/>
          </a:xfrm>
          <a:prstGeom prst="rect">
            <a:avLst/>
          </a:prstGeom>
        </p:spPr>
        <p:txBody>
          <a:bodyPr lIns="0" tIns="0" rIns="0" bIns="0">
            <a:noAutofit/>
          </a:bodyPr>
          <a:lstStyle>
            <a:lvl1pPr>
              <a:defRPr>
                <a:solidFill>
                  <a:schemeClr val="bg1"/>
                </a:solidFill>
              </a:defRPr>
            </a:lvl1pPr>
          </a:lstStyle>
          <a:p>
            <a:pPr lvl="0"/>
            <a:r>
              <a:rPr lang="en-US" dirty="0"/>
              <a:t>Click to edit Master text styles</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74996" y="5121967"/>
            <a:ext cx="1304448" cy="449761"/>
          </a:xfrm>
          <a:prstGeom prst="rect">
            <a:avLst/>
          </a:prstGeom>
          <a:noFill/>
          <a:ln>
            <a:noFill/>
          </a:ln>
        </p:spPr>
      </p:pic>
      <p:sp>
        <p:nvSpPr>
          <p:cNvPr id="14" name="Date Placeholder 3"/>
          <p:cNvSpPr txBox="1">
            <a:spLocks/>
          </p:cNvSpPr>
          <p:nvPr userDrawn="1"/>
        </p:nvSpPr>
        <p:spPr>
          <a:xfrm>
            <a:off x="4509940" y="6081213"/>
            <a:ext cx="1269504" cy="216024"/>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900" dirty="0">
                <a:solidFill>
                  <a:schemeClr val="bg1"/>
                </a:solidFill>
                <a:latin typeface="Segoe UI" panose="020B0502040204020203" pitchFamily="34" charset="0"/>
                <a:ea typeface="Segoe UI" panose="020B0502040204020203" pitchFamily="34" charset="0"/>
                <a:cs typeface="Segoe UI" panose="020B0502040204020203" pitchFamily="34" charset="0"/>
              </a:rPr>
              <a:t>www.</a:t>
            </a:r>
            <a:r>
              <a:rPr lang="en-AU" sz="900" b="1" dirty="0">
                <a:solidFill>
                  <a:schemeClr val="bg1"/>
                </a:solidFill>
                <a:latin typeface="Segoe UI" panose="020B0502040204020203" pitchFamily="34" charset="0"/>
                <a:ea typeface="Segoe UI" panose="020B0502040204020203" pitchFamily="34" charset="0"/>
                <a:cs typeface="Segoe UI" panose="020B0502040204020203" pitchFamily="34" charset="0"/>
              </a:rPr>
              <a:t>advisian</a:t>
            </a:r>
            <a:r>
              <a:rPr lang="en-AU" sz="900" dirty="0">
                <a:solidFill>
                  <a:schemeClr val="bg1"/>
                </a:solidFill>
                <a:latin typeface="Segoe UI" panose="020B0502040204020203" pitchFamily="34" charset="0"/>
                <a:ea typeface="Segoe UI" panose="020B0502040204020203" pitchFamily="34" charset="0"/>
                <a:cs typeface="Segoe UI" panose="020B0502040204020203" pitchFamily="34" charset="0"/>
              </a:rPr>
              <a:t>.com</a:t>
            </a:r>
          </a:p>
        </p:txBody>
      </p:sp>
    </p:spTree>
    <p:extLst>
      <p:ext uri="{BB962C8B-B14F-4D97-AF65-F5344CB8AC3E}">
        <p14:creationId xmlns:p14="http://schemas.microsoft.com/office/powerpoint/2010/main" val="2317444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C1 Divider ">
    <p:bg>
      <p:bgPr>
        <a:solidFill>
          <a:schemeClr val="tx2"/>
        </a:solid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3943354" y="2226733"/>
            <a:ext cx="4600571" cy="3005667"/>
          </a:xfrm>
        </p:spPr>
        <p:txBody>
          <a:bodyPr anchor="t">
            <a:noAutofit/>
          </a:bodyPr>
          <a:lstStyle>
            <a:lvl1pPr>
              <a:lnSpc>
                <a:spcPts val="3600"/>
              </a:lnSpc>
              <a:defRPr sz="3600">
                <a:solidFill>
                  <a:schemeClr val="bg1"/>
                </a:solidFill>
              </a:defRPr>
            </a:lvl1pPr>
          </a:lstStyle>
          <a:p>
            <a:r>
              <a:rPr lang="en-US" dirty="0"/>
              <a:t>Click to edit Master title style</a:t>
            </a:r>
          </a:p>
        </p:txBody>
      </p:sp>
      <p:sp>
        <p:nvSpPr>
          <p:cNvPr id="5" name="Parallelogram 4"/>
          <p:cNvSpPr/>
          <p:nvPr userDrawn="1"/>
        </p:nvSpPr>
        <p:spPr>
          <a:xfrm>
            <a:off x="3937001"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Picture Placeholder 14"/>
          <p:cNvSpPr>
            <a:spLocks noGrp="1"/>
          </p:cNvSpPr>
          <p:nvPr>
            <p:ph type="pic" sz="quarter" idx="12"/>
          </p:nvPr>
        </p:nvSpPr>
        <p:spPr>
          <a:xfrm>
            <a:off x="-74915" y="-76200"/>
            <a:ext cx="4618340" cy="6977874"/>
          </a:xfrm>
          <a:custGeom>
            <a:avLst/>
            <a:gdLst>
              <a:gd name="connsiteX0" fmla="*/ 0 w 4618144"/>
              <a:gd name="connsiteY0" fmla="*/ 0 h 6965950"/>
              <a:gd name="connsiteX1" fmla="*/ 4618144 w 4618144"/>
              <a:gd name="connsiteY1" fmla="*/ 0 h 6965950"/>
              <a:gd name="connsiteX2" fmla="*/ 4618144 w 4618144"/>
              <a:gd name="connsiteY2" fmla="*/ 6965950 h 6965950"/>
              <a:gd name="connsiteX3" fmla="*/ 0 w 4618144"/>
              <a:gd name="connsiteY3" fmla="*/ 6965950 h 6965950"/>
              <a:gd name="connsiteX4" fmla="*/ 0 w 4618144"/>
              <a:gd name="connsiteY4" fmla="*/ 0 h 6965950"/>
              <a:gd name="connsiteX0" fmla="*/ 0 w 4618144"/>
              <a:gd name="connsiteY0" fmla="*/ 6350 h 6972300"/>
              <a:gd name="connsiteX1" fmla="*/ 1954319 w 4618144"/>
              <a:gd name="connsiteY1" fmla="*/ 0 h 6972300"/>
              <a:gd name="connsiteX2" fmla="*/ 4618144 w 4618144"/>
              <a:gd name="connsiteY2" fmla="*/ 6350 h 6972300"/>
              <a:gd name="connsiteX3" fmla="*/ 4618144 w 4618144"/>
              <a:gd name="connsiteY3" fmla="*/ 6972300 h 6972300"/>
              <a:gd name="connsiteX4" fmla="*/ 0 w 4618144"/>
              <a:gd name="connsiteY4" fmla="*/ 6972300 h 6972300"/>
              <a:gd name="connsiteX5" fmla="*/ 0 w 4618144"/>
              <a:gd name="connsiteY5" fmla="*/ 6350 h 6972300"/>
              <a:gd name="connsiteX0" fmla="*/ 0 w 4618144"/>
              <a:gd name="connsiteY0" fmla="*/ 6350 h 6972300"/>
              <a:gd name="connsiteX1" fmla="*/ 716069 w 4618144"/>
              <a:gd name="connsiteY1" fmla="*/ 0 h 6972300"/>
              <a:gd name="connsiteX2" fmla="*/ 1954319 w 4618144"/>
              <a:gd name="connsiteY2" fmla="*/ 0 h 6972300"/>
              <a:gd name="connsiteX3" fmla="*/ 4618144 w 4618144"/>
              <a:gd name="connsiteY3" fmla="*/ 6350 h 6972300"/>
              <a:gd name="connsiteX4" fmla="*/ 4618144 w 4618144"/>
              <a:gd name="connsiteY4" fmla="*/ 6972300 h 6972300"/>
              <a:gd name="connsiteX5" fmla="*/ 0 w 4618144"/>
              <a:gd name="connsiteY5" fmla="*/ 6972300 h 6972300"/>
              <a:gd name="connsiteX6" fmla="*/ 0 w 4618144"/>
              <a:gd name="connsiteY6" fmla="*/ 6350 h 6972300"/>
              <a:gd name="connsiteX0" fmla="*/ 0 w 4618144"/>
              <a:gd name="connsiteY0" fmla="*/ 6350 h 6972300"/>
              <a:gd name="connsiteX1" fmla="*/ 620819 w 4618144"/>
              <a:gd name="connsiteY1" fmla="*/ 0 h 6972300"/>
              <a:gd name="connsiteX2" fmla="*/ 716069 w 4618144"/>
              <a:gd name="connsiteY2" fmla="*/ 0 h 6972300"/>
              <a:gd name="connsiteX3" fmla="*/ 1954319 w 4618144"/>
              <a:gd name="connsiteY3" fmla="*/ 0 h 6972300"/>
              <a:gd name="connsiteX4" fmla="*/ 4618144 w 4618144"/>
              <a:gd name="connsiteY4" fmla="*/ 6350 h 6972300"/>
              <a:gd name="connsiteX5" fmla="*/ 4618144 w 4618144"/>
              <a:gd name="connsiteY5" fmla="*/ 6972300 h 6972300"/>
              <a:gd name="connsiteX6" fmla="*/ 0 w 4618144"/>
              <a:gd name="connsiteY6" fmla="*/ 6972300 h 6972300"/>
              <a:gd name="connsiteX7" fmla="*/ 0 w 4618144"/>
              <a:gd name="connsiteY7" fmla="*/ 6350 h 6972300"/>
              <a:gd name="connsiteX0" fmla="*/ 7831 w 4625975"/>
              <a:gd name="connsiteY0" fmla="*/ 6350 h 6972300"/>
              <a:gd name="connsiteX1" fmla="*/ 628650 w 4625975"/>
              <a:gd name="connsiteY1" fmla="*/ 0 h 6972300"/>
              <a:gd name="connsiteX2" fmla="*/ 723900 w 4625975"/>
              <a:gd name="connsiteY2" fmla="*/ 0 h 6972300"/>
              <a:gd name="connsiteX3" fmla="*/ 1962150 w 4625975"/>
              <a:gd name="connsiteY3" fmla="*/ 0 h 6972300"/>
              <a:gd name="connsiteX4" fmla="*/ 4625975 w 4625975"/>
              <a:gd name="connsiteY4" fmla="*/ 6350 h 6972300"/>
              <a:gd name="connsiteX5" fmla="*/ 4625975 w 4625975"/>
              <a:gd name="connsiteY5" fmla="*/ 6972300 h 6972300"/>
              <a:gd name="connsiteX6" fmla="*/ 7831 w 4625975"/>
              <a:gd name="connsiteY6" fmla="*/ 6972300 h 6972300"/>
              <a:gd name="connsiteX7" fmla="*/ 0 w 4625975"/>
              <a:gd name="connsiteY7" fmla="*/ 1625600 h 6972300"/>
              <a:gd name="connsiteX8" fmla="*/ 7831 w 4625975"/>
              <a:gd name="connsiteY8"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46555 w 4964699"/>
              <a:gd name="connsiteY6" fmla="*/ 6972300 h 6972300"/>
              <a:gd name="connsiteX7" fmla="*/ 332375 w 4964699"/>
              <a:gd name="connsiteY7" fmla="*/ 1841500 h 6972300"/>
              <a:gd name="connsiteX8" fmla="*/ 338724 w 4964699"/>
              <a:gd name="connsiteY8" fmla="*/ 1625600 h 6972300"/>
              <a:gd name="connsiteX9" fmla="*/ 346555 w 4964699"/>
              <a:gd name="connsiteY9"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2288175 w 4964699"/>
              <a:gd name="connsiteY6" fmla="*/ 6965950 h 6972300"/>
              <a:gd name="connsiteX7" fmla="*/ 346555 w 4964699"/>
              <a:gd name="connsiteY7" fmla="*/ 6972300 h 6972300"/>
              <a:gd name="connsiteX8" fmla="*/ 332375 w 4964699"/>
              <a:gd name="connsiteY8" fmla="*/ 1841500 h 6972300"/>
              <a:gd name="connsiteX9" fmla="*/ 338724 w 4964699"/>
              <a:gd name="connsiteY9" fmla="*/ 1625600 h 6972300"/>
              <a:gd name="connsiteX10" fmla="*/ 346555 w 4964699"/>
              <a:gd name="connsiteY10"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2389775 w 4964699"/>
              <a:gd name="connsiteY6" fmla="*/ 6959600 h 6972300"/>
              <a:gd name="connsiteX7" fmla="*/ 2288175 w 4964699"/>
              <a:gd name="connsiteY7" fmla="*/ 6965950 h 6972300"/>
              <a:gd name="connsiteX8" fmla="*/ 346555 w 4964699"/>
              <a:gd name="connsiteY8" fmla="*/ 6972300 h 6972300"/>
              <a:gd name="connsiteX9" fmla="*/ 332375 w 4964699"/>
              <a:gd name="connsiteY9" fmla="*/ 1841500 h 6972300"/>
              <a:gd name="connsiteX10" fmla="*/ 338724 w 4964699"/>
              <a:gd name="connsiteY10" fmla="*/ 1625600 h 6972300"/>
              <a:gd name="connsiteX11" fmla="*/ 346555 w 4964699"/>
              <a:gd name="connsiteY11"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615325 w 4964699"/>
              <a:gd name="connsiteY6" fmla="*/ 6959600 h 6972300"/>
              <a:gd name="connsiteX7" fmla="*/ 2389775 w 4964699"/>
              <a:gd name="connsiteY7" fmla="*/ 6959600 h 6972300"/>
              <a:gd name="connsiteX8" fmla="*/ 2288175 w 4964699"/>
              <a:gd name="connsiteY8" fmla="*/ 6965950 h 6972300"/>
              <a:gd name="connsiteX9" fmla="*/ 346555 w 4964699"/>
              <a:gd name="connsiteY9" fmla="*/ 6972300 h 6972300"/>
              <a:gd name="connsiteX10" fmla="*/ 332375 w 4964699"/>
              <a:gd name="connsiteY10" fmla="*/ 1841500 h 6972300"/>
              <a:gd name="connsiteX11" fmla="*/ 338724 w 4964699"/>
              <a:gd name="connsiteY11" fmla="*/ 1625600 h 6972300"/>
              <a:gd name="connsiteX12" fmla="*/ 346555 w 4964699"/>
              <a:gd name="connsiteY12"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704225 w 4964699"/>
              <a:gd name="connsiteY6" fmla="*/ 6959600 h 6972300"/>
              <a:gd name="connsiteX7" fmla="*/ 3615325 w 4964699"/>
              <a:gd name="connsiteY7" fmla="*/ 6959600 h 6972300"/>
              <a:gd name="connsiteX8" fmla="*/ 2389775 w 4964699"/>
              <a:gd name="connsiteY8" fmla="*/ 6959600 h 6972300"/>
              <a:gd name="connsiteX9" fmla="*/ 2288175 w 4964699"/>
              <a:gd name="connsiteY9" fmla="*/ 6965950 h 6972300"/>
              <a:gd name="connsiteX10" fmla="*/ 346555 w 4964699"/>
              <a:gd name="connsiteY10" fmla="*/ 6972300 h 6972300"/>
              <a:gd name="connsiteX11" fmla="*/ 332375 w 4964699"/>
              <a:gd name="connsiteY11" fmla="*/ 1841500 h 6972300"/>
              <a:gd name="connsiteX12" fmla="*/ 338724 w 4964699"/>
              <a:gd name="connsiteY12" fmla="*/ 1625600 h 6972300"/>
              <a:gd name="connsiteX13" fmla="*/ 346555 w 4964699"/>
              <a:gd name="connsiteY13" fmla="*/ 6350 h 6972300"/>
              <a:gd name="connsiteX0" fmla="*/ 346555 w 4964699"/>
              <a:gd name="connsiteY0" fmla="*/ 11113 h 6977063"/>
              <a:gd name="connsiteX1" fmla="*/ 967374 w 4964699"/>
              <a:gd name="connsiteY1" fmla="*/ 4763 h 6977063"/>
              <a:gd name="connsiteX2" fmla="*/ 1026113 w 4964699"/>
              <a:gd name="connsiteY2" fmla="*/ 0 h 6977063"/>
              <a:gd name="connsiteX3" fmla="*/ 1062624 w 4964699"/>
              <a:gd name="connsiteY3" fmla="*/ 4763 h 6977063"/>
              <a:gd name="connsiteX4" fmla="*/ 2300874 w 4964699"/>
              <a:gd name="connsiteY4" fmla="*/ 4763 h 6977063"/>
              <a:gd name="connsiteX5" fmla="*/ 4964699 w 4964699"/>
              <a:gd name="connsiteY5" fmla="*/ 11113 h 6977063"/>
              <a:gd name="connsiteX6" fmla="*/ 4964699 w 4964699"/>
              <a:gd name="connsiteY6" fmla="*/ 6977063 h 6977063"/>
              <a:gd name="connsiteX7" fmla="*/ 3704225 w 4964699"/>
              <a:gd name="connsiteY7" fmla="*/ 6964363 h 6977063"/>
              <a:gd name="connsiteX8" fmla="*/ 3615325 w 4964699"/>
              <a:gd name="connsiteY8" fmla="*/ 6964363 h 6977063"/>
              <a:gd name="connsiteX9" fmla="*/ 2389775 w 4964699"/>
              <a:gd name="connsiteY9" fmla="*/ 6964363 h 6977063"/>
              <a:gd name="connsiteX10" fmla="*/ 2288175 w 4964699"/>
              <a:gd name="connsiteY10" fmla="*/ 6970713 h 6977063"/>
              <a:gd name="connsiteX11" fmla="*/ 346555 w 4964699"/>
              <a:gd name="connsiteY11" fmla="*/ 6977063 h 6977063"/>
              <a:gd name="connsiteX12" fmla="*/ 332375 w 4964699"/>
              <a:gd name="connsiteY12" fmla="*/ 1846263 h 6977063"/>
              <a:gd name="connsiteX13" fmla="*/ 338724 w 4964699"/>
              <a:gd name="connsiteY13" fmla="*/ 1630363 h 6977063"/>
              <a:gd name="connsiteX14" fmla="*/ 346555 w 4964699"/>
              <a:gd name="connsiteY14" fmla="*/ 11113 h 6977063"/>
              <a:gd name="connsiteX0" fmla="*/ 346555 w 4964699"/>
              <a:gd name="connsiteY0" fmla="*/ 6350 h 6972300"/>
              <a:gd name="connsiteX1" fmla="*/ 967374 w 4964699"/>
              <a:gd name="connsiteY1" fmla="*/ 0 h 6972300"/>
              <a:gd name="connsiteX2" fmla="*/ 2526300 w 4964699"/>
              <a:gd name="connsiteY2" fmla="*/ 3881437 h 6972300"/>
              <a:gd name="connsiteX3" fmla="*/ 1062624 w 4964699"/>
              <a:gd name="connsiteY3" fmla="*/ 0 h 6972300"/>
              <a:gd name="connsiteX4" fmla="*/ 2300874 w 4964699"/>
              <a:gd name="connsiteY4" fmla="*/ 0 h 6972300"/>
              <a:gd name="connsiteX5" fmla="*/ 4964699 w 4964699"/>
              <a:gd name="connsiteY5" fmla="*/ 6350 h 6972300"/>
              <a:gd name="connsiteX6" fmla="*/ 4964699 w 4964699"/>
              <a:gd name="connsiteY6" fmla="*/ 6972300 h 6972300"/>
              <a:gd name="connsiteX7" fmla="*/ 3704225 w 4964699"/>
              <a:gd name="connsiteY7" fmla="*/ 6959600 h 6972300"/>
              <a:gd name="connsiteX8" fmla="*/ 3615325 w 4964699"/>
              <a:gd name="connsiteY8" fmla="*/ 6959600 h 6972300"/>
              <a:gd name="connsiteX9" fmla="*/ 2389775 w 4964699"/>
              <a:gd name="connsiteY9" fmla="*/ 6959600 h 6972300"/>
              <a:gd name="connsiteX10" fmla="*/ 2288175 w 4964699"/>
              <a:gd name="connsiteY10" fmla="*/ 6965950 h 6972300"/>
              <a:gd name="connsiteX11" fmla="*/ 346555 w 4964699"/>
              <a:gd name="connsiteY11" fmla="*/ 6972300 h 6972300"/>
              <a:gd name="connsiteX12" fmla="*/ 332375 w 4964699"/>
              <a:gd name="connsiteY12" fmla="*/ 1841500 h 6972300"/>
              <a:gd name="connsiteX13" fmla="*/ 338724 w 4964699"/>
              <a:gd name="connsiteY13" fmla="*/ 1625600 h 6972300"/>
              <a:gd name="connsiteX14" fmla="*/ 346555 w 4964699"/>
              <a:gd name="connsiteY14" fmla="*/ 6350 h 6972300"/>
              <a:gd name="connsiteX0" fmla="*/ 346555 w 4964699"/>
              <a:gd name="connsiteY0" fmla="*/ 6350 h 6972300"/>
              <a:gd name="connsiteX1" fmla="*/ 967374 w 4964699"/>
              <a:gd name="connsiteY1" fmla="*/ 0 h 6972300"/>
              <a:gd name="connsiteX2" fmla="*/ 3699780 w 4964699"/>
              <a:gd name="connsiteY2" fmla="*/ 6967537 h 6972300"/>
              <a:gd name="connsiteX3" fmla="*/ 1062624 w 4964699"/>
              <a:gd name="connsiteY3" fmla="*/ 0 h 6972300"/>
              <a:gd name="connsiteX4" fmla="*/ 2300874 w 4964699"/>
              <a:gd name="connsiteY4" fmla="*/ 0 h 6972300"/>
              <a:gd name="connsiteX5" fmla="*/ 4964699 w 4964699"/>
              <a:gd name="connsiteY5" fmla="*/ 6350 h 6972300"/>
              <a:gd name="connsiteX6" fmla="*/ 4964699 w 4964699"/>
              <a:gd name="connsiteY6" fmla="*/ 6972300 h 6972300"/>
              <a:gd name="connsiteX7" fmla="*/ 3704225 w 4964699"/>
              <a:gd name="connsiteY7" fmla="*/ 6959600 h 6972300"/>
              <a:gd name="connsiteX8" fmla="*/ 3615325 w 4964699"/>
              <a:gd name="connsiteY8" fmla="*/ 6959600 h 6972300"/>
              <a:gd name="connsiteX9" fmla="*/ 2389775 w 4964699"/>
              <a:gd name="connsiteY9" fmla="*/ 6959600 h 6972300"/>
              <a:gd name="connsiteX10" fmla="*/ 2288175 w 4964699"/>
              <a:gd name="connsiteY10" fmla="*/ 6965950 h 6972300"/>
              <a:gd name="connsiteX11" fmla="*/ 346555 w 4964699"/>
              <a:gd name="connsiteY11" fmla="*/ 6972300 h 6972300"/>
              <a:gd name="connsiteX12" fmla="*/ 332375 w 4964699"/>
              <a:gd name="connsiteY12" fmla="*/ 1841500 h 6972300"/>
              <a:gd name="connsiteX13" fmla="*/ 338724 w 4964699"/>
              <a:gd name="connsiteY13" fmla="*/ 1625600 h 6972300"/>
              <a:gd name="connsiteX14" fmla="*/ 346555 w 4964699"/>
              <a:gd name="connsiteY14" fmla="*/ 6350 h 6972300"/>
              <a:gd name="connsiteX0" fmla="*/ 346555 w 4964699"/>
              <a:gd name="connsiteY0" fmla="*/ 6350 h 6972300"/>
              <a:gd name="connsiteX1" fmla="*/ 967374 w 4964699"/>
              <a:gd name="connsiteY1" fmla="*/ 0 h 6972300"/>
              <a:gd name="connsiteX2" fmla="*/ 2684415 w 4964699"/>
              <a:gd name="connsiteY2" fmla="*/ 438150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615325 w 4964699"/>
              <a:gd name="connsiteY9" fmla="*/ 695960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346555 w 4964699"/>
              <a:gd name="connsiteY0" fmla="*/ 6350 h 6972300"/>
              <a:gd name="connsiteX1" fmla="*/ 967374 w 4964699"/>
              <a:gd name="connsiteY1" fmla="*/ 0 h 6972300"/>
              <a:gd name="connsiteX2" fmla="*/ 3621675 w 4964699"/>
              <a:gd name="connsiteY2" fmla="*/ 695706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615325 w 4964699"/>
              <a:gd name="connsiteY9" fmla="*/ 695960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346555 w 4964699"/>
              <a:gd name="connsiteY0" fmla="*/ 6350 h 6972300"/>
              <a:gd name="connsiteX1" fmla="*/ 967374 w 4964699"/>
              <a:gd name="connsiteY1" fmla="*/ 0 h 6972300"/>
              <a:gd name="connsiteX2" fmla="*/ 3621675 w 4964699"/>
              <a:gd name="connsiteY2" fmla="*/ 695706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592465 w 4964699"/>
              <a:gd name="connsiteY9" fmla="*/ 695198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154847 w 4772991"/>
              <a:gd name="connsiteY0" fmla="*/ 6350 h 6972300"/>
              <a:gd name="connsiteX1" fmla="*/ 775666 w 4772991"/>
              <a:gd name="connsiteY1" fmla="*/ 0 h 6972300"/>
              <a:gd name="connsiteX2" fmla="*/ 3429967 w 4772991"/>
              <a:gd name="connsiteY2" fmla="*/ 6957060 h 6972300"/>
              <a:gd name="connsiteX3" fmla="*/ 3508072 w 4772991"/>
              <a:gd name="connsiteY3" fmla="*/ 6967537 h 6972300"/>
              <a:gd name="connsiteX4" fmla="*/ 870916 w 4772991"/>
              <a:gd name="connsiteY4" fmla="*/ 0 h 6972300"/>
              <a:gd name="connsiteX5" fmla="*/ 2109166 w 4772991"/>
              <a:gd name="connsiteY5" fmla="*/ 0 h 6972300"/>
              <a:gd name="connsiteX6" fmla="*/ 4772991 w 4772991"/>
              <a:gd name="connsiteY6" fmla="*/ 6350 h 6972300"/>
              <a:gd name="connsiteX7" fmla="*/ 4772991 w 4772991"/>
              <a:gd name="connsiteY7" fmla="*/ 6972300 h 6972300"/>
              <a:gd name="connsiteX8" fmla="*/ 3512517 w 4772991"/>
              <a:gd name="connsiteY8" fmla="*/ 6959600 h 6972300"/>
              <a:gd name="connsiteX9" fmla="*/ 3400757 w 4772991"/>
              <a:gd name="connsiteY9" fmla="*/ 6951980 h 6972300"/>
              <a:gd name="connsiteX10" fmla="*/ 2198067 w 4772991"/>
              <a:gd name="connsiteY10" fmla="*/ 6959600 h 6972300"/>
              <a:gd name="connsiteX11" fmla="*/ 2096467 w 4772991"/>
              <a:gd name="connsiteY11" fmla="*/ 6965950 h 6972300"/>
              <a:gd name="connsiteX12" fmla="*/ 154847 w 4772991"/>
              <a:gd name="connsiteY12" fmla="*/ 6972300 h 6972300"/>
              <a:gd name="connsiteX13" fmla="*/ 121617 w 4772991"/>
              <a:gd name="connsiteY13" fmla="*/ 1974850 h 6972300"/>
              <a:gd name="connsiteX14" fmla="*/ 140667 w 4772991"/>
              <a:gd name="connsiteY14" fmla="*/ 1841500 h 6972300"/>
              <a:gd name="connsiteX15" fmla="*/ 147016 w 4772991"/>
              <a:gd name="connsiteY15" fmla="*/ 1625600 h 6972300"/>
              <a:gd name="connsiteX16" fmla="*/ 154847 w 4772991"/>
              <a:gd name="connsiteY16"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123157 w 4774531"/>
              <a:gd name="connsiteY14" fmla="*/ 1974850 h 6972300"/>
              <a:gd name="connsiteX15" fmla="*/ 142207 w 4774531"/>
              <a:gd name="connsiteY15" fmla="*/ 1841500 h 6972300"/>
              <a:gd name="connsiteX16" fmla="*/ 148556 w 4774531"/>
              <a:gd name="connsiteY16" fmla="*/ 1625600 h 6972300"/>
              <a:gd name="connsiteX17" fmla="*/ 156387 w 4774531"/>
              <a:gd name="connsiteY17"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123157 w 4774531"/>
              <a:gd name="connsiteY14" fmla="*/ 1974850 h 6972300"/>
              <a:gd name="connsiteX15" fmla="*/ 525589 w 4774531"/>
              <a:gd name="connsiteY15" fmla="*/ 1889125 h 6972300"/>
              <a:gd name="connsiteX16" fmla="*/ 148556 w 4774531"/>
              <a:gd name="connsiteY16" fmla="*/ 1625600 h 6972300"/>
              <a:gd name="connsiteX17" fmla="*/ 156387 w 4774531"/>
              <a:gd name="connsiteY17"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430338 w 4774531"/>
              <a:gd name="connsiteY14" fmla="*/ 2432050 h 6972300"/>
              <a:gd name="connsiteX15" fmla="*/ 525589 w 4774531"/>
              <a:gd name="connsiteY15" fmla="*/ 1889125 h 6972300"/>
              <a:gd name="connsiteX16" fmla="*/ 148556 w 4774531"/>
              <a:gd name="connsiteY16" fmla="*/ 1625600 h 6972300"/>
              <a:gd name="connsiteX17" fmla="*/ 156387 w 4774531"/>
              <a:gd name="connsiteY17" fmla="*/ 6350 h 6972300"/>
              <a:gd name="connsiteX0" fmla="*/ 146526 w 4764670"/>
              <a:gd name="connsiteY0" fmla="*/ 6350 h 6972300"/>
              <a:gd name="connsiteX1" fmla="*/ 767345 w 4764670"/>
              <a:gd name="connsiteY1" fmla="*/ 0 h 6972300"/>
              <a:gd name="connsiteX2" fmla="*/ 3421646 w 4764670"/>
              <a:gd name="connsiteY2" fmla="*/ 6957060 h 6972300"/>
              <a:gd name="connsiteX3" fmla="*/ 3499751 w 4764670"/>
              <a:gd name="connsiteY3" fmla="*/ 6967537 h 6972300"/>
              <a:gd name="connsiteX4" fmla="*/ 862595 w 4764670"/>
              <a:gd name="connsiteY4" fmla="*/ 0 h 6972300"/>
              <a:gd name="connsiteX5" fmla="*/ 2100845 w 4764670"/>
              <a:gd name="connsiteY5" fmla="*/ 0 h 6972300"/>
              <a:gd name="connsiteX6" fmla="*/ 4764670 w 4764670"/>
              <a:gd name="connsiteY6" fmla="*/ 6350 h 6972300"/>
              <a:gd name="connsiteX7" fmla="*/ 4764670 w 4764670"/>
              <a:gd name="connsiteY7" fmla="*/ 6972300 h 6972300"/>
              <a:gd name="connsiteX8" fmla="*/ 3504196 w 4764670"/>
              <a:gd name="connsiteY8" fmla="*/ 6959600 h 6972300"/>
              <a:gd name="connsiteX9" fmla="*/ 3392436 w 4764670"/>
              <a:gd name="connsiteY9" fmla="*/ 6951980 h 6972300"/>
              <a:gd name="connsiteX10" fmla="*/ 2189746 w 4764670"/>
              <a:gd name="connsiteY10" fmla="*/ 6959600 h 6972300"/>
              <a:gd name="connsiteX11" fmla="*/ 2088146 w 4764670"/>
              <a:gd name="connsiteY11" fmla="*/ 6965950 h 6972300"/>
              <a:gd name="connsiteX12" fmla="*/ 146526 w 4764670"/>
              <a:gd name="connsiteY12" fmla="*/ 6972300 h 6972300"/>
              <a:gd name="connsiteX13" fmla="*/ 142665 w 4764670"/>
              <a:gd name="connsiteY13" fmla="*/ 2000250 h 6972300"/>
              <a:gd name="connsiteX14" fmla="*/ 420477 w 4764670"/>
              <a:gd name="connsiteY14" fmla="*/ 2432050 h 6972300"/>
              <a:gd name="connsiteX15" fmla="*/ 515728 w 4764670"/>
              <a:gd name="connsiteY15" fmla="*/ 1889125 h 6972300"/>
              <a:gd name="connsiteX16" fmla="*/ 138695 w 4764670"/>
              <a:gd name="connsiteY16" fmla="*/ 1625600 h 6972300"/>
              <a:gd name="connsiteX17" fmla="*/ 146526 w 4764670"/>
              <a:gd name="connsiteY17" fmla="*/ 6350 h 6972300"/>
              <a:gd name="connsiteX0" fmla="*/ 146526 w 4764670"/>
              <a:gd name="connsiteY0" fmla="*/ 6350 h 6972300"/>
              <a:gd name="connsiteX1" fmla="*/ 767345 w 4764670"/>
              <a:gd name="connsiteY1" fmla="*/ 0 h 6972300"/>
              <a:gd name="connsiteX2" fmla="*/ 3421646 w 4764670"/>
              <a:gd name="connsiteY2" fmla="*/ 6957060 h 6972300"/>
              <a:gd name="connsiteX3" fmla="*/ 3499751 w 4764670"/>
              <a:gd name="connsiteY3" fmla="*/ 6967537 h 6972300"/>
              <a:gd name="connsiteX4" fmla="*/ 862595 w 4764670"/>
              <a:gd name="connsiteY4" fmla="*/ 0 h 6972300"/>
              <a:gd name="connsiteX5" fmla="*/ 2100845 w 4764670"/>
              <a:gd name="connsiteY5" fmla="*/ 0 h 6972300"/>
              <a:gd name="connsiteX6" fmla="*/ 4764670 w 4764670"/>
              <a:gd name="connsiteY6" fmla="*/ 6350 h 6972300"/>
              <a:gd name="connsiteX7" fmla="*/ 4764670 w 4764670"/>
              <a:gd name="connsiteY7" fmla="*/ 6972300 h 6972300"/>
              <a:gd name="connsiteX8" fmla="*/ 3504196 w 4764670"/>
              <a:gd name="connsiteY8" fmla="*/ 6959600 h 6972300"/>
              <a:gd name="connsiteX9" fmla="*/ 3392436 w 4764670"/>
              <a:gd name="connsiteY9" fmla="*/ 6951980 h 6972300"/>
              <a:gd name="connsiteX10" fmla="*/ 2189746 w 4764670"/>
              <a:gd name="connsiteY10" fmla="*/ 6959600 h 6972300"/>
              <a:gd name="connsiteX11" fmla="*/ 2088146 w 4764670"/>
              <a:gd name="connsiteY11" fmla="*/ 6965950 h 6972300"/>
              <a:gd name="connsiteX12" fmla="*/ 146526 w 4764670"/>
              <a:gd name="connsiteY12" fmla="*/ 6972300 h 6972300"/>
              <a:gd name="connsiteX13" fmla="*/ 142665 w 4764670"/>
              <a:gd name="connsiteY13" fmla="*/ 2000250 h 6972300"/>
              <a:gd name="connsiteX14" fmla="*/ 420477 w 4764670"/>
              <a:gd name="connsiteY14" fmla="*/ 2432050 h 6972300"/>
              <a:gd name="connsiteX15" fmla="*/ 515728 w 4764670"/>
              <a:gd name="connsiteY15" fmla="*/ 1889125 h 6972300"/>
              <a:gd name="connsiteX16" fmla="*/ 138695 w 4764670"/>
              <a:gd name="connsiteY16" fmla="*/ 1625600 h 6972300"/>
              <a:gd name="connsiteX17" fmla="*/ 146526 w 476467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411767 w 4755960"/>
              <a:gd name="connsiteY14" fmla="*/ 2432050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1545242 w 4755960"/>
              <a:gd name="connsiteY14" fmla="*/ 5541962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2078642 w 4755960"/>
              <a:gd name="connsiteY14" fmla="*/ 6970712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29985 w 4755960"/>
              <a:gd name="connsiteY16" fmla="*/ 1625600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44272 w 4755960"/>
              <a:gd name="connsiteY16" fmla="*/ 1616076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44272 w 4755960"/>
              <a:gd name="connsiteY16" fmla="*/ 1616076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29985 w 4755960"/>
              <a:gd name="connsiteY16" fmla="*/ 1630363 h 6977874"/>
              <a:gd name="connsiteX17" fmla="*/ 137816 w 4755960"/>
              <a:gd name="connsiteY17" fmla="*/ 6350 h 6977874"/>
              <a:gd name="connsiteX0" fmla="*/ 142330 w 4760474"/>
              <a:gd name="connsiteY0" fmla="*/ 6350 h 6977874"/>
              <a:gd name="connsiteX1" fmla="*/ 763149 w 4760474"/>
              <a:gd name="connsiteY1" fmla="*/ 0 h 6977874"/>
              <a:gd name="connsiteX2" fmla="*/ 3417450 w 4760474"/>
              <a:gd name="connsiteY2" fmla="*/ 6957060 h 6977874"/>
              <a:gd name="connsiteX3" fmla="*/ 3495555 w 4760474"/>
              <a:gd name="connsiteY3" fmla="*/ 6967537 h 6977874"/>
              <a:gd name="connsiteX4" fmla="*/ 858399 w 4760474"/>
              <a:gd name="connsiteY4" fmla="*/ 0 h 6977874"/>
              <a:gd name="connsiteX5" fmla="*/ 2096649 w 4760474"/>
              <a:gd name="connsiteY5" fmla="*/ 0 h 6977874"/>
              <a:gd name="connsiteX6" fmla="*/ 4760474 w 4760474"/>
              <a:gd name="connsiteY6" fmla="*/ 6350 h 6977874"/>
              <a:gd name="connsiteX7" fmla="*/ 4760474 w 4760474"/>
              <a:gd name="connsiteY7" fmla="*/ 6972300 h 6977874"/>
              <a:gd name="connsiteX8" fmla="*/ 3500000 w 4760474"/>
              <a:gd name="connsiteY8" fmla="*/ 6959600 h 6977874"/>
              <a:gd name="connsiteX9" fmla="*/ 3388240 w 4760474"/>
              <a:gd name="connsiteY9" fmla="*/ 6951980 h 6977874"/>
              <a:gd name="connsiteX10" fmla="*/ 2185550 w 4760474"/>
              <a:gd name="connsiteY10" fmla="*/ 6959600 h 6977874"/>
              <a:gd name="connsiteX11" fmla="*/ 2083950 w 4760474"/>
              <a:gd name="connsiteY11" fmla="*/ 6965950 h 6977874"/>
              <a:gd name="connsiteX12" fmla="*/ 142330 w 4760474"/>
              <a:gd name="connsiteY12" fmla="*/ 6972300 h 6977874"/>
              <a:gd name="connsiteX13" fmla="*/ 155138 w 4760474"/>
              <a:gd name="connsiteY13" fmla="*/ 1883569 h 6977874"/>
              <a:gd name="connsiteX14" fmla="*/ 2083156 w 4760474"/>
              <a:gd name="connsiteY14" fmla="*/ 6970712 h 6977874"/>
              <a:gd name="connsiteX15" fmla="*/ 2183170 w 4760474"/>
              <a:gd name="connsiteY15" fmla="*/ 6956425 h 6977874"/>
              <a:gd name="connsiteX16" fmla="*/ 134499 w 4760474"/>
              <a:gd name="connsiteY16" fmla="*/ 1630363 h 6977874"/>
              <a:gd name="connsiteX17" fmla="*/ 142330 w 4760474"/>
              <a:gd name="connsiteY17" fmla="*/ 6350 h 6977874"/>
              <a:gd name="connsiteX0" fmla="*/ 144363 w 4762507"/>
              <a:gd name="connsiteY0" fmla="*/ 6350 h 6977874"/>
              <a:gd name="connsiteX1" fmla="*/ 765182 w 4762507"/>
              <a:gd name="connsiteY1" fmla="*/ 0 h 6977874"/>
              <a:gd name="connsiteX2" fmla="*/ 3419483 w 4762507"/>
              <a:gd name="connsiteY2" fmla="*/ 6957060 h 6977874"/>
              <a:gd name="connsiteX3" fmla="*/ 3497588 w 4762507"/>
              <a:gd name="connsiteY3" fmla="*/ 6967537 h 6977874"/>
              <a:gd name="connsiteX4" fmla="*/ 860432 w 4762507"/>
              <a:gd name="connsiteY4" fmla="*/ 0 h 6977874"/>
              <a:gd name="connsiteX5" fmla="*/ 2098682 w 4762507"/>
              <a:gd name="connsiteY5" fmla="*/ 0 h 6977874"/>
              <a:gd name="connsiteX6" fmla="*/ 4762507 w 4762507"/>
              <a:gd name="connsiteY6" fmla="*/ 6350 h 6977874"/>
              <a:gd name="connsiteX7" fmla="*/ 4762507 w 4762507"/>
              <a:gd name="connsiteY7" fmla="*/ 6972300 h 6977874"/>
              <a:gd name="connsiteX8" fmla="*/ 3502033 w 4762507"/>
              <a:gd name="connsiteY8" fmla="*/ 6959600 h 6977874"/>
              <a:gd name="connsiteX9" fmla="*/ 3390273 w 4762507"/>
              <a:gd name="connsiteY9" fmla="*/ 6951980 h 6977874"/>
              <a:gd name="connsiteX10" fmla="*/ 2187583 w 4762507"/>
              <a:gd name="connsiteY10" fmla="*/ 6959600 h 6977874"/>
              <a:gd name="connsiteX11" fmla="*/ 2085983 w 4762507"/>
              <a:gd name="connsiteY11" fmla="*/ 6965950 h 6977874"/>
              <a:gd name="connsiteX12" fmla="*/ 144363 w 4762507"/>
              <a:gd name="connsiteY12" fmla="*/ 6972300 h 6977874"/>
              <a:gd name="connsiteX13" fmla="*/ 157171 w 4762507"/>
              <a:gd name="connsiteY13" fmla="*/ 1883569 h 6977874"/>
              <a:gd name="connsiteX14" fmla="*/ 2085189 w 4762507"/>
              <a:gd name="connsiteY14" fmla="*/ 6970712 h 6977874"/>
              <a:gd name="connsiteX15" fmla="*/ 2185203 w 4762507"/>
              <a:gd name="connsiteY15" fmla="*/ 6956425 h 6977874"/>
              <a:gd name="connsiteX16" fmla="*/ 136532 w 4762507"/>
              <a:gd name="connsiteY16" fmla="*/ 1630363 h 6977874"/>
              <a:gd name="connsiteX17" fmla="*/ 144363 w 4762507"/>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8220 w 4626364"/>
              <a:gd name="connsiteY12" fmla="*/ 6972300 h 6977874"/>
              <a:gd name="connsiteX13" fmla="*/ 21028 w 4626364"/>
              <a:gd name="connsiteY13" fmla="*/ 188356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46320 w 4626364"/>
              <a:gd name="connsiteY12" fmla="*/ 6965950 h 6977874"/>
              <a:gd name="connsiteX13" fmla="*/ 21028 w 4626364"/>
              <a:gd name="connsiteY13" fmla="*/ 188356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46320 w 4626364"/>
              <a:gd name="connsiteY12" fmla="*/ 6965950 h 6977874"/>
              <a:gd name="connsiteX13" fmla="*/ 40078 w 4626364"/>
              <a:gd name="connsiteY13" fmla="*/ 194071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350 h 6977874"/>
              <a:gd name="connsiteX7" fmla="*/ 4618340 w 4618340"/>
              <a:gd name="connsiteY7" fmla="*/ 6972300 h 6977874"/>
              <a:gd name="connsiteX8" fmla="*/ 3357866 w 4618340"/>
              <a:gd name="connsiteY8" fmla="*/ 6959600 h 6977874"/>
              <a:gd name="connsiteX9" fmla="*/ 3246106 w 4618340"/>
              <a:gd name="connsiteY9" fmla="*/ 6951980 h 6977874"/>
              <a:gd name="connsiteX10" fmla="*/ 2043416 w 4618340"/>
              <a:gd name="connsiteY10" fmla="*/ 6959600 h 6977874"/>
              <a:gd name="connsiteX11" fmla="*/ 1941816 w 4618340"/>
              <a:gd name="connsiteY11" fmla="*/ 6965950 h 6977874"/>
              <a:gd name="connsiteX12" fmla="*/ 38296 w 4618340"/>
              <a:gd name="connsiteY12" fmla="*/ 6965950 h 6977874"/>
              <a:gd name="connsiteX13" fmla="*/ 32054 w 4618340"/>
              <a:gd name="connsiteY13" fmla="*/ 1940719 h 6977874"/>
              <a:gd name="connsiteX14" fmla="*/ 1941022 w 4618340"/>
              <a:gd name="connsiteY14" fmla="*/ 6970712 h 6977874"/>
              <a:gd name="connsiteX15" fmla="*/ 2041036 w 4618340"/>
              <a:gd name="connsiteY15" fmla="*/ 6956425 h 6977874"/>
              <a:gd name="connsiteX16" fmla="*/ 24115 w 4618340"/>
              <a:gd name="connsiteY16" fmla="*/ 1712913 h 6977874"/>
              <a:gd name="connsiteX17" fmla="*/ 196 w 4618340"/>
              <a:gd name="connsiteY17"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4102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6007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7912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8340" h="6977874">
                <a:moveTo>
                  <a:pt x="196" y="6350"/>
                </a:moveTo>
                <a:lnTo>
                  <a:pt x="621015" y="0"/>
                </a:lnTo>
                <a:lnTo>
                  <a:pt x="3275316" y="6957060"/>
                </a:lnTo>
                <a:lnTo>
                  <a:pt x="3353421" y="6967537"/>
                </a:lnTo>
                <a:lnTo>
                  <a:pt x="716265" y="0"/>
                </a:lnTo>
                <a:lnTo>
                  <a:pt x="1954515" y="0"/>
                </a:lnTo>
                <a:lnTo>
                  <a:pt x="4618340" y="6972300"/>
                </a:lnTo>
                <a:lnTo>
                  <a:pt x="3357866" y="6959600"/>
                </a:lnTo>
                <a:lnTo>
                  <a:pt x="3246106" y="6951980"/>
                </a:lnTo>
                <a:lnTo>
                  <a:pt x="2043416" y="6959600"/>
                </a:lnTo>
                <a:lnTo>
                  <a:pt x="1941816" y="6965950"/>
                </a:lnTo>
                <a:lnTo>
                  <a:pt x="38296" y="6965950"/>
                </a:lnTo>
                <a:cubicBezTo>
                  <a:pt x="44646" y="6792383"/>
                  <a:pt x="28067" y="1949714"/>
                  <a:pt x="32054" y="1940719"/>
                </a:cubicBezTo>
                <a:cubicBezTo>
                  <a:pt x="36041" y="1946011"/>
                  <a:pt x="1974889" y="7009870"/>
                  <a:pt x="1979122" y="6970712"/>
                </a:cubicBezTo>
                <a:cubicBezTo>
                  <a:pt x="1983355" y="6931554"/>
                  <a:pt x="2036803" y="7014633"/>
                  <a:pt x="2041036" y="6956425"/>
                </a:cubicBezTo>
                <a:cubicBezTo>
                  <a:pt x="2045269" y="6898217"/>
                  <a:pt x="16989" y="1718734"/>
                  <a:pt x="24115" y="1712913"/>
                </a:cubicBezTo>
                <a:cubicBezTo>
                  <a:pt x="21963" y="1716088"/>
                  <a:pt x="-2414" y="546100"/>
                  <a:pt x="196" y="6350"/>
                </a:cubicBezTo>
                <a:close/>
              </a:path>
            </a:pathLst>
          </a:custGeom>
          <a:solidFill>
            <a:schemeClr val="bg1">
              <a:lumMod val="65000"/>
            </a:schemeClr>
          </a:solidFill>
        </p:spPr>
        <p:txBody>
          <a:bodyPr lIns="684000" tIns="3096000"/>
          <a:lstStyle>
            <a:lvl1pPr>
              <a:defRPr sz="1200" b="1">
                <a:solidFill>
                  <a:schemeClr val="bg1"/>
                </a:solidFill>
              </a:defRPr>
            </a:lvl1pPr>
          </a:lstStyle>
          <a:p>
            <a:endParaRPr lang="en-US" dirty="0"/>
          </a:p>
        </p:txBody>
      </p:sp>
    </p:spTree>
    <p:extLst>
      <p:ext uri="{BB962C8B-B14F-4D97-AF65-F5344CB8AC3E}">
        <p14:creationId xmlns:p14="http://schemas.microsoft.com/office/powerpoint/2010/main" val="3998686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IC1 Pictures with headings">
    <p:bg>
      <p:bgPr>
        <a:solidFill>
          <a:schemeClr val="tx2"/>
        </a:solidFill>
        <a:effectLst/>
      </p:bgPr>
    </p:bg>
    <p:spTree>
      <p:nvGrpSpPr>
        <p:cNvPr id="1" name=""/>
        <p:cNvGrpSpPr/>
        <p:nvPr/>
      </p:nvGrpSpPr>
      <p:grpSpPr>
        <a:xfrm>
          <a:off x="0" y="0"/>
          <a:ext cx="0" cy="0"/>
          <a:chOff x="0" y="0"/>
          <a:chExt cx="0" cy="0"/>
        </a:xfrm>
      </p:grpSpPr>
      <p:sp>
        <p:nvSpPr>
          <p:cNvPr id="30" name="Picture Placeholder 26"/>
          <p:cNvSpPr>
            <a:spLocks noGrp="1"/>
          </p:cNvSpPr>
          <p:nvPr>
            <p:ph type="pic" sz="quarter" idx="13"/>
          </p:nvPr>
        </p:nvSpPr>
        <p:spPr>
          <a:xfrm>
            <a:off x="-771525" y="346559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3" name="Picture Placeholder 26"/>
          <p:cNvSpPr>
            <a:spLocks noGrp="1"/>
          </p:cNvSpPr>
          <p:nvPr>
            <p:ph type="pic" sz="quarter" idx="16"/>
          </p:nvPr>
        </p:nvSpPr>
        <p:spPr>
          <a:xfrm>
            <a:off x="552450" y="-12927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18" name="Text Placeholder 36"/>
          <p:cNvSpPr>
            <a:spLocks noGrp="1"/>
          </p:cNvSpPr>
          <p:nvPr>
            <p:ph type="body" sz="quarter" idx="25"/>
          </p:nvPr>
        </p:nvSpPr>
        <p:spPr>
          <a:xfrm>
            <a:off x="545306" y="287660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5" name="Text Placeholder 36"/>
          <p:cNvSpPr>
            <a:spLocks noGrp="1"/>
          </p:cNvSpPr>
          <p:nvPr>
            <p:ph type="body" sz="quarter" idx="26"/>
          </p:nvPr>
        </p:nvSpPr>
        <p:spPr>
          <a:xfrm>
            <a:off x="321469" y="347747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9" name="Picture Placeholder 26"/>
          <p:cNvSpPr>
            <a:spLocks noGrp="1"/>
          </p:cNvSpPr>
          <p:nvPr>
            <p:ph type="pic" sz="quarter" idx="27"/>
          </p:nvPr>
        </p:nvSpPr>
        <p:spPr>
          <a:xfrm>
            <a:off x="1872615" y="346559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6" name="Picture Placeholder 26"/>
          <p:cNvSpPr>
            <a:spLocks noGrp="1"/>
          </p:cNvSpPr>
          <p:nvPr>
            <p:ph type="pic" sz="quarter" idx="28"/>
          </p:nvPr>
        </p:nvSpPr>
        <p:spPr>
          <a:xfrm>
            <a:off x="3196590" y="-12927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43" name="Text Placeholder 36"/>
          <p:cNvSpPr>
            <a:spLocks noGrp="1"/>
          </p:cNvSpPr>
          <p:nvPr>
            <p:ph type="body" sz="quarter" idx="29"/>
          </p:nvPr>
        </p:nvSpPr>
        <p:spPr>
          <a:xfrm>
            <a:off x="3189446" y="287660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4" name="Text Placeholder 36"/>
          <p:cNvSpPr>
            <a:spLocks noGrp="1"/>
          </p:cNvSpPr>
          <p:nvPr>
            <p:ph type="body" sz="quarter" idx="30"/>
          </p:nvPr>
        </p:nvSpPr>
        <p:spPr>
          <a:xfrm>
            <a:off x="2965609" y="347747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5" name="Picture Placeholder 26"/>
          <p:cNvSpPr>
            <a:spLocks noGrp="1"/>
          </p:cNvSpPr>
          <p:nvPr>
            <p:ph type="pic" sz="quarter" idx="31"/>
          </p:nvPr>
        </p:nvSpPr>
        <p:spPr>
          <a:xfrm>
            <a:off x="4509136" y="3465595"/>
            <a:ext cx="3987164"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46" name="Picture Placeholder 26"/>
          <p:cNvSpPr>
            <a:spLocks noGrp="1"/>
          </p:cNvSpPr>
          <p:nvPr>
            <p:ph type="pic" sz="quarter" idx="32"/>
          </p:nvPr>
        </p:nvSpPr>
        <p:spPr>
          <a:xfrm>
            <a:off x="5833110" y="-129275"/>
            <a:ext cx="3977640"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47" name="Text Placeholder 36"/>
          <p:cNvSpPr>
            <a:spLocks noGrp="1"/>
          </p:cNvSpPr>
          <p:nvPr>
            <p:ph type="body" sz="quarter" idx="33"/>
          </p:nvPr>
        </p:nvSpPr>
        <p:spPr>
          <a:xfrm>
            <a:off x="5831790" y="287660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8" name="Text Placeholder 36"/>
          <p:cNvSpPr>
            <a:spLocks noGrp="1"/>
          </p:cNvSpPr>
          <p:nvPr>
            <p:ph type="body" sz="quarter" idx="34"/>
          </p:nvPr>
        </p:nvSpPr>
        <p:spPr>
          <a:xfrm>
            <a:off x="5607953" y="347747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1658878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1 - white">
    <p:bg>
      <p:bgPr>
        <a:solidFill>
          <a:schemeClr val="bg1"/>
        </a:solidFill>
        <a:effectLst/>
      </p:bgPr>
    </p:bg>
    <p:spTree>
      <p:nvGrpSpPr>
        <p:cNvPr id="1" name=""/>
        <p:cNvGrpSpPr/>
        <p:nvPr/>
      </p:nvGrpSpPr>
      <p:grpSpPr>
        <a:xfrm>
          <a:off x="0" y="0"/>
          <a:ext cx="0" cy="0"/>
          <a:chOff x="0" y="0"/>
          <a:chExt cx="0" cy="0"/>
        </a:xfrm>
      </p:grpSpPr>
      <p:sp>
        <p:nvSpPr>
          <p:cNvPr id="28" name="Text Placeholder 26"/>
          <p:cNvSpPr>
            <a:spLocks noGrp="1"/>
          </p:cNvSpPr>
          <p:nvPr>
            <p:ph type="body" sz="quarter" idx="11"/>
          </p:nvPr>
        </p:nvSpPr>
        <p:spPr>
          <a:xfrm>
            <a:off x="3170548" y="4240468"/>
            <a:ext cx="4354126" cy="677333"/>
          </a:xfrm>
          <a:prstGeom prst="rect">
            <a:avLst/>
          </a:prstGeom>
        </p:spPr>
        <p:txBody>
          <a:bodyPr lIns="0" tIns="0" rIns="0" bIns="0">
            <a:noAutofit/>
          </a:bodyPr>
          <a:lstStyle>
            <a:lvl1pPr>
              <a:spcBef>
                <a:spcPts val="0"/>
              </a:spcBef>
              <a:spcAft>
                <a:spcPts val="0"/>
              </a:spcAft>
              <a:defRPr sz="1000">
                <a:solidFill>
                  <a:schemeClr val="tx1"/>
                </a:solidFill>
              </a:defRPr>
            </a:lvl1pPr>
          </a:lstStyle>
          <a:p>
            <a:pPr lvl="0"/>
            <a:r>
              <a:rPr lang="en-US" dirty="0"/>
              <a:t>Click to edit Master text styles</a:t>
            </a:r>
          </a:p>
        </p:txBody>
      </p:sp>
      <p:sp>
        <p:nvSpPr>
          <p:cNvPr id="29" name="Title 28"/>
          <p:cNvSpPr>
            <a:spLocks noGrp="1"/>
          </p:cNvSpPr>
          <p:nvPr>
            <p:ph type="title"/>
          </p:nvPr>
        </p:nvSpPr>
        <p:spPr>
          <a:xfrm>
            <a:off x="3170548" y="1610919"/>
            <a:ext cx="4343012" cy="1711401"/>
          </a:xfrm>
        </p:spPr>
        <p:txBody>
          <a:bodyPr>
            <a:noAutofit/>
          </a:bodyPr>
          <a:lstStyle>
            <a:lvl1pPr>
              <a:lnSpc>
                <a:spcPts val="2800"/>
              </a:lnSpc>
              <a:defRPr sz="2800">
                <a:solidFill>
                  <a:schemeClr val="tx1"/>
                </a:solidFill>
              </a:defRPr>
            </a:lvl1pPr>
          </a:lstStyle>
          <a:p>
            <a:r>
              <a:rPr lang="en-US" dirty="0"/>
              <a:t>Click to edit Master title style</a:t>
            </a:r>
          </a:p>
        </p:txBody>
      </p:sp>
      <p:sp>
        <p:nvSpPr>
          <p:cNvPr id="33" name="Text Placeholder 32"/>
          <p:cNvSpPr>
            <a:spLocks noGrp="1"/>
          </p:cNvSpPr>
          <p:nvPr>
            <p:ph type="body" sz="quarter" idx="12"/>
          </p:nvPr>
        </p:nvSpPr>
        <p:spPr>
          <a:xfrm>
            <a:off x="3170548" y="3546203"/>
            <a:ext cx="4327774" cy="601133"/>
          </a:xfrm>
          <a:prstGeom prst="rect">
            <a:avLst/>
          </a:prstGeom>
        </p:spPr>
        <p:txBody>
          <a:bodyPr lIns="0" tIns="0" rIns="0" bIns="0">
            <a:noAutofit/>
          </a:bodyPr>
          <a:lstStyle>
            <a:lvl1pPr>
              <a:defRPr>
                <a:solidFill>
                  <a:schemeClr val="tx1"/>
                </a:solidFill>
              </a:defRPr>
            </a:lvl1pPr>
          </a:lstStyle>
          <a:p>
            <a:pPr lvl="0"/>
            <a:r>
              <a:rPr lang="en-US" dirty="0"/>
              <a:t>Click to edit Master text styles</a:t>
            </a:r>
          </a:p>
        </p:txBody>
      </p:sp>
      <p:sp>
        <p:nvSpPr>
          <p:cNvPr id="3" name="Picture Placeholder 2"/>
          <p:cNvSpPr>
            <a:spLocks noGrp="1"/>
          </p:cNvSpPr>
          <p:nvPr>
            <p:ph type="pic" sz="quarter" idx="15" hasCustomPrompt="1"/>
          </p:nvPr>
        </p:nvSpPr>
        <p:spPr>
          <a:xfrm>
            <a:off x="-38100" y="-45720"/>
            <a:ext cx="9228138" cy="6957060"/>
          </a:xfrm>
          <a:custGeom>
            <a:avLst/>
            <a:gdLst>
              <a:gd name="connsiteX0" fmla="*/ 0 w 9228138"/>
              <a:gd name="connsiteY0" fmla="*/ 0 h 6934200"/>
              <a:gd name="connsiteX1" fmla="*/ 9228138 w 9228138"/>
              <a:gd name="connsiteY1" fmla="*/ 0 h 6934200"/>
              <a:gd name="connsiteX2" fmla="*/ 9228138 w 9228138"/>
              <a:gd name="connsiteY2" fmla="*/ 6934200 h 6934200"/>
              <a:gd name="connsiteX3" fmla="*/ 0 w 9228138"/>
              <a:gd name="connsiteY3" fmla="*/ 6934200 h 6934200"/>
              <a:gd name="connsiteX4" fmla="*/ 0 w 9228138"/>
              <a:gd name="connsiteY4" fmla="*/ 0 h 6934200"/>
              <a:gd name="connsiteX0" fmla="*/ 0 w 9228138"/>
              <a:gd name="connsiteY0" fmla="*/ 7620 h 6941820"/>
              <a:gd name="connsiteX1" fmla="*/ 3909060 w 9228138"/>
              <a:gd name="connsiteY1" fmla="*/ 0 h 6941820"/>
              <a:gd name="connsiteX2" fmla="*/ 9228138 w 9228138"/>
              <a:gd name="connsiteY2" fmla="*/ 7620 h 6941820"/>
              <a:gd name="connsiteX3" fmla="*/ 9228138 w 9228138"/>
              <a:gd name="connsiteY3" fmla="*/ 6941820 h 6941820"/>
              <a:gd name="connsiteX4" fmla="*/ 0 w 9228138"/>
              <a:gd name="connsiteY4" fmla="*/ 6941820 h 6941820"/>
              <a:gd name="connsiteX5" fmla="*/ 0 w 9228138"/>
              <a:gd name="connsiteY5" fmla="*/ 7620 h 6941820"/>
              <a:gd name="connsiteX0" fmla="*/ 0 w 9228138"/>
              <a:gd name="connsiteY0" fmla="*/ 15240 h 6949440"/>
              <a:gd name="connsiteX1" fmla="*/ 3909060 w 9228138"/>
              <a:gd name="connsiteY1" fmla="*/ 7620 h 6949440"/>
              <a:gd name="connsiteX2" fmla="*/ 6088380 w 9228138"/>
              <a:gd name="connsiteY2" fmla="*/ 0 h 6949440"/>
              <a:gd name="connsiteX3" fmla="*/ 9228138 w 9228138"/>
              <a:gd name="connsiteY3" fmla="*/ 15240 h 6949440"/>
              <a:gd name="connsiteX4" fmla="*/ 9228138 w 9228138"/>
              <a:gd name="connsiteY4" fmla="*/ 6949440 h 6949440"/>
              <a:gd name="connsiteX5" fmla="*/ 0 w 9228138"/>
              <a:gd name="connsiteY5" fmla="*/ 6949440 h 6949440"/>
              <a:gd name="connsiteX6" fmla="*/ 0 w 9228138"/>
              <a:gd name="connsiteY6" fmla="*/ 15240 h 6949440"/>
              <a:gd name="connsiteX0" fmla="*/ 0 w 9228138"/>
              <a:gd name="connsiteY0" fmla="*/ 7620 h 6957060"/>
              <a:gd name="connsiteX1" fmla="*/ 3909060 w 9228138"/>
              <a:gd name="connsiteY1" fmla="*/ 0 h 6957060"/>
              <a:gd name="connsiteX2" fmla="*/ 1272540 w 9228138"/>
              <a:gd name="connsiteY2" fmla="*/ 6957060 h 6957060"/>
              <a:gd name="connsiteX3" fmla="*/ 9228138 w 9228138"/>
              <a:gd name="connsiteY3" fmla="*/ 7620 h 6957060"/>
              <a:gd name="connsiteX4" fmla="*/ 9228138 w 9228138"/>
              <a:gd name="connsiteY4" fmla="*/ 6941820 h 6957060"/>
              <a:gd name="connsiteX5" fmla="*/ 0 w 9228138"/>
              <a:gd name="connsiteY5" fmla="*/ 6941820 h 6957060"/>
              <a:gd name="connsiteX6" fmla="*/ 0 w 9228138"/>
              <a:gd name="connsiteY6" fmla="*/ 7620 h 6957060"/>
              <a:gd name="connsiteX0" fmla="*/ 0 w 9228138"/>
              <a:gd name="connsiteY0" fmla="*/ 7620 h 6957060"/>
              <a:gd name="connsiteX1" fmla="*/ 3909060 w 9228138"/>
              <a:gd name="connsiteY1" fmla="*/ 0 h 6957060"/>
              <a:gd name="connsiteX2" fmla="*/ 1272540 w 9228138"/>
              <a:gd name="connsiteY2" fmla="*/ 6957060 h 6957060"/>
              <a:gd name="connsiteX3" fmla="*/ 7947660 w 9228138"/>
              <a:gd name="connsiteY3" fmla="*/ 1104900 h 6957060"/>
              <a:gd name="connsiteX4" fmla="*/ 9228138 w 9228138"/>
              <a:gd name="connsiteY4" fmla="*/ 7620 h 6957060"/>
              <a:gd name="connsiteX5" fmla="*/ 9228138 w 9228138"/>
              <a:gd name="connsiteY5" fmla="*/ 6941820 h 6957060"/>
              <a:gd name="connsiteX6" fmla="*/ 0 w 9228138"/>
              <a:gd name="connsiteY6" fmla="*/ 6941820 h 6957060"/>
              <a:gd name="connsiteX7" fmla="*/ 0 w 9228138"/>
              <a:gd name="connsiteY7" fmla="*/ 7620 h 6957060"/>
              <a:gd name="connsiteX0" fmla="*/ 0 w 9228138"/>
              <a:gd name="connsiteY0" fmla="*/ 7620 h 6957060"/>
              <a:gd name="connsiteX1" fmla="*/ 3909060 w 9228138"/>
              <a:gd name="connsiteY1" fmla="*/ 0 h 6957060"/>
              <a:gd name="connsiteX2" fmla="*/ 1272540 w 9228138"/>
              <a:gd name="connsiteY2" fmla="*/ 6957060 h 6957060"/>
              <a:gd name="connsiteX3" fmla="*/ 6591300 w 9228138"/>
              <a:gd name="connsiteY3" fmla="*/ 6934200 h 6957060"/>
              <a:gd name="connsiteX4" fmla="*/ 9228138 w 9228138"/>
              <a:gd name="connsiteY4" fmla="*/ 7620 h 6957060"/>
              <a:gd name="connsiteX5" fmla="*/ 9228138 w 9228138"/>
              <a:gd name="connsiteY5" fmla="*/ 6941820 h 6957060"/>
              <a:gd name="connsiteX6" fmla="*/ 0 w 9228138"/>
              <a:gd name="connsiteY6" fmla="*/ 6941820 h 6957060"/>
              <a:gd name="connsiteX7" fmla="*/ 0 w 9228138"/>
              <a:gd name="connsiteY7" fmla="*/ 7620 h 6957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28138" h="6957060">
                <a:moveTo>
                  <a:pt x="0" y="7620"/>
                </a:moveTo>
                <a:lnTo>
                  <a:pt x="3909060" y="0"/>
                </a:lnTo>
                <a:lnTo>
                  <a:pt x="1272540" y="6957060"/>
                </a:lnTo>
                <a:lnTo>
                  <a:pt x="6591300" y="6934200"/>
                </a:lnTo>
                <a:lnTo>
                  <a:pt x="9228138" y="7620"/>
                </a:lnTo>
                <a:lnTo>
                  <a:pt x="9228138" y="6941820"/>
                </a:lnTo>
                <a:lnTo>
                  <a:pt x="0" y="6941820"/>
                </a:lnTo>
                <a:lnTo>
                  <a:pt x="0" y="7620"/>
                </a:lnTo>
                <a:close/>
              </a:path>
            </a:pathLst>
          </a:custGeom>
          <a:solidFill>
            <a:schemeClr val="bg1">
              <a:lumMod val="65000"/>
            </a:schemeClr>
          </a:solidFill>
        </p:spPr>
        <p:txBody>
          <a:bodyPr lIns="216000" tIns="3348000"/>
          <a:lstStyle>
            <a:lvl1pPr>
              <a:defRPr b="1" baseline="0">
                <a:solidFill>
                  <a:schemeClr val="tx2"/>
                </a:solidFill>
              </a:defRPr>
            </a:lvl1pPr>
          </a:lstStyle>
          <a:p>
            <a:r>
              <a:rPr lang="en-AU" dirty="0"/>
              <a:t>Click on icon to import picture -&gt;&gt;&gt;&gt;</a:t>
            </a:r>
            <a:endParaRPr lang="en-US" dirty="0"/>
          </a:p>
        </p:txBody>
      </p:sp>
      <p:sp>
        <p:nvSpPr>
          <p:cNvPr id="4" name="Picture Placeholder 3"/>
          <p:cNvSpPr>
            <a:spLocks noGrp="1"/>
          </p:cNvSpPr>
          <p:nvPr>
            <p:ph type="pic" sz="quarter" idx="16"/>
          </p:nvPr>
        </p:nvSpPr>
        <p:spPr>
          <a:xfrm>
            <a:off x="5521345" y="5289208"/>
            <a:ext cx="1413098" cy="486117"/>
          </a:xfrm>
        </p:spPr>
        <p:txBody>
          <a:bodyPr/>
          <a:lstStyle>
            <a:lvl1pPr algn="ctr">
              <a:defRPr sz="800" b="1"/>
            </a:lvl1pPr>
          </a:lstStyle>
          <a:p>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70548" y="5346848"/>
            <a:ext cx="1304448" cy="449761"/>
          </a:xfrm>
          <a:prstGeom prst="rect">
            <a:avLst/>
          </a:prstGeom>
          <a:noFill/>
          <a:ln>
            <a:noFill/>
          </a:ln>
        </p:spPr>
      </p:pic>
      <p:sp>
        <p:nvSpPr>
          <p:cNvPr id="12" name="Date Placeholder 3"/>
          <p:cNvSpPr txBox="1">
            <a:spLocks/>
          </p:cNvSpPr>
          <p:nvPr userDrawn="1"/>
        </p:nvSpPr>
        <p:spPr>
          <a:xfrm>
            <a:off x="3205492" y="6306094"/>
            <a:ext cx="1269504" cy="216024"/>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900" dirty="0">
                <a:solidFill>
                  <a:schemeClr val="bg1"/>
                </a:solidFill>
                <a:latin typeface="Segoe UI" panose="020B0502040204020203" pitchFamily="34" charset="0"/>
                <a:ea typeface="Segoe UI" panose="020B0502040204020203" pitchFamily="34" charset="0"/>
                <a:cs typeface="Segoe UI" panose="020B0502040204020203" pitchFamily="34" charset="0"/>
              </a:rPr>
              <a:t>www.</a:t>
            </a:r>
            <a:r>
              <a:rPr lang="en-AU" sz="900" b="1" dirty="0">
                <a:solidFill>
                  <a:schemeClr val="bg1"/>
                </a:solidFill>
                <a:latin typeface="Segoe UI" panose="020B0502040204020203" pitchFamily="34" charset="0"/>
                <a:ea typeface="Segoe UI" panose="020B0502040204020203" pitchFamily="34" charset="0"/>
                <a:cs typeface="Segoe UI" panose="020B0502040204020203" pitchFamily="34" charset="0"/>
              </a:rPr>
              <a:t>advisian</a:t>
            </a:r>
            <a:r>
              <a:rPr lang="en-AU" sz="900" dirty="0">
                <a:solidFill>
                  <a:schemeClr val="bg1"/>
                </a:solidFill>
                <a:latin typeface="Segoe UI" panose="020B0502040204020203" pitchFamily="34" charset="0"/>
                <a:ea typeface="Segoe UI" panose="020B0502040204020203" pitchFamily="34" charset="0"/>
                <a:cs typeface="Segoe UI" panose="020B0502040204020203" pitchFamily="34" charset="0"/>
              </a:rPr>
              <a:t>.com</a:t>
            </a:r>
          </a:p>
        </p:txBody>
      </p:sp>
      <p:sp>
        <p:nvSpPr>
          <p:cNvPr id="10" name="Date Placeholder 3"/>
          <p:cNvSpPr txBox="1">
            <a:spLocks/>
          </p:cNvSpPr>
          <p:nvPr userDrawn="1"/>
        </p:nvSpPr>
        <p:spPr>
          <a:xfrm>
            <a:off x="3170548" y="6248944"/>
            <a:ext cx="1269504" cy="216024"/>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900" dirty="0">
                <a:solidFill>
                  <a:schemeClr val="tx1"/>
                </a:solidFill>
                <a:latin typeface="Segoe UI" panose="020B0502040204020203" pitchFamily="34" charset="0"/>
                <a:ea typeface="Segoe UI" panose="020B0502040204020203" pitchFamily="34" charset="0"/>
                <a:cs typeface="Segoe UI" panose="020B0502040204020203" pitchFamily="34" charset="0"/>
              </a:rPr>
              <a:t>www.</a:t>
            </a:r>
            <a:r>
              <a:rPr lang="en-AU" sz="900" b="1" dirty="0">
                <a:solidFill>
                  <a:schemeClr val="tx1"/>
                </a:solidFill>
                <a:latin typeface="Segoe UI" panose="020B0502040204020203" pitchFamily="34" charset="0"/>
                <a:ea typeface="Segoe UI" panose="020B0502040204020203" pitchFamily="34" charset="0"/>
                <a:cs typeface="Segoe UI" panose="020B0502040204020203" pitchFamily="34" charset="0"/>
              </a:rPr>
              <a:t>advisian</a:t>
            </a:r>
            <a:r>
              <a:rPr lang="en-AU" sz="900" dirty="0">
                <a:solidFill>
                  <a:schemeClr val="tx1"/>
                </a:solidFill>
                <a:latin typeface="Segoe UI" panose="020B0502040204020203" pitchFamily="34" charset="0"/>
                <a:ea typeface="Segoe UI" panose="020B0502040204020203" pitchFamily="34" charset="0"/>
                <a:cs typeface="Segoe UI" panose="020B0502040204020203" pitchFamily="34" charset="0"/>
              </a:rPr>
              <a:t>.com</a:t>
            </a:r>
          </a:p>
        </p:txBody>
      </p:sp>
    </p:spTree>
    <p:extLst>
      <p:ext uri="{BB962C8B-B14F-4D97-AF65-F5344CB8AC3E}">
        <p14:creationId xmlns:p14="http://schemas.microsoft.com/office/powerpoint/2010/main" val="422755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IC2 Pictures with headings">
    <p:bg>
      <p:bgPr>
        <a:solidFill>
          <a:schemeClr val="tx2"/>
        </a:solidFill>
        <a:effectLst/>
      </p:bgPr>
    </p:bg>
    <p:spTree>
      <p:nvGrpSpPr>
        <p:cNvPr id="1" name=""/>
        <p:cNvGrpSpPr/>
        <p:nvPr/>
      </p:nvGrpSpPr>
      <p:grpSpPr>
        <a:xfrm>
          <a:off x="0" y="0"/>
          <a:ext cx="0" cy="0"/>
          <a:chOff x="0" y="0"/>
          <a:chExt cx="0" cy="0"/>
        </a:xfrm>
      </p:grpSpPr>
      <p:sp>
        <p:nvSpPr>
          <p:cNvPr id="30" name="Picture Placeholder 26"/>
          <p:cNvSpPr>
            <a:spLocks noGrp="1"/>
          </p:cNvSpPr>
          <p:nvPr>
            <p:ph type="pic" sz="quarter" idx="13"/>
          </p:nvPr>
        </p:nvSpPr>
        <p:spPr>
          <a:xfrm>
            <a:off x="-771525" y="346559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1" name="Picture Placeholder 26"/>
          <p:cNvSpPr>
            <a:spLocks noGrp="1"/>
          </p:cNvSpPr>
          <p:nvPr>
            <p:ph type="pic" sz="quarter" idx="14"/>
          </p:nvPr>
        </p:nvSpPr>
        <p:spPr>
          <a:xfrm>
            <a:off x="1899779" y="346559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2" name="Picture Placeholder 26"/>
          <p:cNvSpPr>
            <a:spLocks noGrp="1"/>
          </p:cNvSpPr>
          <p:nvPr>
            <p:ph type="pic" sz="quarter" idx="15"/>
          </p:nvPr>
        </p:nvSpPr>
        <p:spPr>
          <a:xfrm>
            <a:off x="4580608" y="346559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3" name="Picture Placeholder 26"/>
          <p:cNvSpPr>
            <a:spLocks noGrp="1"/>
          </p:cNvSpPr>
          <p:nvPr>
            <p:ph type="pic" sz="quarter" idx="16"/>
          </p:nvPr>
        </p:nvSpPr>
        <p:spPr>
          <a:xfrm>
            <a:off x="552450" y="-12927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4" name="Picture Placeholder 26"/>
          <p:cNvSpPr>
            <a:spLocks noGrp="1"/>
          </p:cNvSpPr>
          <p:nvPr>
            <p:ph type="pic" sz="quarter" idx="17"/>
          </p:nvPr>
        </p:nvSpPr>
        <p:spPr>
          <a:xfrm>
            <a:off x="3223754" y="-12927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5" name="Picture Placeholder 26"/>
          <p:cNvSpPr>
            <a:spLocks noGrp="1"/>
          </p:cNvSpPr>
          <p:nvPr>
            <p:ph type="pic" sz="quarter" idx="18"/>
          </p:nvPr>
        </p:nvSpPr>
        <p:spPr>
          <a:xfrm>
            <a:off x="5904583" y="-12927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7" name="Text Placeholder 36"/>
          <p:cNvSpPr>
            <a:spLocks noGrp="1"/>
          </p:cNvSpPr>
          <p:nvPr>
            <p:ph type="body" sz="quarter" idx="19"/>
          </p:nvPr>
        </p:nvSpPr>
        <p:spPr>
          <a:xfrm>
            <a:off x="-190500" y="59150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38" name="Text Placeholder 36"/>
          <p:cNvSpPr>
            <a:spLocks noGrp="1"/>
          </p:cNvSpPr>
          <p:nvPr>
            <p:ph type="body" sz="quarter" idx="20"/>
          </p:nvPr>
        </p:nvSpPr>
        <p:spPr>
          <a:xfrm>
            <a:off x="4591050" y="361950"/>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39" name="Text Placeholder 36"/>
          <p:cNvSpPr>
            <a:spLocks noGrp="1"/>
          </p:cNvSpPr>
          <p:nvPr>
            <p:ph type="body" sz="quarter" idx="21"/>
          </p:nvPr>
        </p:nvSpPr>
        <p:spPr>
          <a:xfrm>
            <a:off x="3324225" y="3714750"/>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1" name="Text Placeholder 36"/>
          <p:cNvSpPr>
            <a:spLocks noGrp="1"/>
          </p:cNvSpPr>
          <p:nvPr>
            <p:ph type="body" sz="quarter" idx="23"/>
          </p:nvPr>
        </p:nvSpPr>
        <p:spPr>
          <a:xfrm>
            <a:off x="5172075" y="59150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2" name="Text Placeholder 36"/>
          <p:cNvSpPr>
            <a:spLocks noGrp="1"/>
          </p:cNvSpPr>
          <p:nvPr>
            <p:ph type="body" sz="quarter" idx="24"/>
          </p:nvPr>
        </p:nvSpPr>
        <p:spPr>
          <a:xfrm>
            <a:off x="6400800" y="26003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5" name="Text Placeholder 36"/>
          <p:cNvSpPr>
            <a:spLocks noGrp="1"/>
          </p:cNvSpPr>
          <p:nvPr>
            <p:ph type="body" sz="quarter" idx="25"/>
          </p:nvPr>
        </p:nvSpPr>
        <p:spPr>
          <a:xfrm>
            <a:off x="990600" y="26003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1426419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IC3 Pictures with headings">
    <p:bg>
      <p:bgPr>
        <a:solidFill>
          <a:schemeClr val="tx2"/>
        </a:solidFill>
        <a:effectLst/>
      </p:bgPr>
    </p:bg>
    <p:spTree>
      <p:nvGrpSpPr>
        <p:cNvPr id="1" name=""/>
        <p:cNvGrpSpPr/>
        <p:nvPr/>
      </p:nvGrpSpPr>
      <p:grpSpPr>
        <a:xfrm>
          <a:off x="0" y="0"/>
          <a:ext cx="0" cy="0"/>
          <a:chOff x="0" y="0"/>
          <a:chExt cx="0" cy="0"/>
        </a:xfrm>
      </p:grpSpPr>
      <p:sp>
        <p:nvSpPr>
          <p:cNvPr id="30" name="Picture Placeholder 26"/>
          <p:cNvSpPr>
            <a:spLocks noGrp="1"/>
          </p:cNvSpPr>
          <p:nvPr>
            <p:ph type="pic" sz="quarter" idx="13"/>
          </p:nvPr>
        </p:nvSpPr>
        <p:spPr>
          <a:xfrm>
            <a:off x="-7510" y="3427229"/>
            <a:ext cx="3863072" cy="3476625"/>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1" name="Picture Placeholder 26"/>
          <p:cNvSpPr>
            <a:spLocks noGrp="1"/>
          </p:cNvSpPr>
          <p:nvPr>
            <p:ph type="pic" sz="quarter" idx="14"/>
          </p:nvPr>
        </p:nvSpPr>
        <p:spPr>
          <a:xfrm>
            <a:off x="2579646" y="3427229"/>
            <a:ext cx="3863072" cy="3476625"/>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3" name="Picture Placeholder 26"/>
          <p:cNvSpPr>
            <a:spLocks noGrp="1"/>
          </p:cNvSpPr>
          <p:nvPr>
            <p:ph type="pic" sz="quarter" idx="16"/>
          </p:nvPr>
        </p:nvSpPr>
        <p:spPr>
          <a:xfrm>
            <a:off x="1267779" y="-47517"/>
            <a:ext cx="3863072" cy="3476625"/>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4" name="Picture Placeholder 26"/>
          <p:cNvSpPr>
            <a:spLocks noGrp="1"/>
          </p:cNvSpPr>
          <p:nvPr>
            <p:ph type="pic" sz="quarter" idx="17"/>
          </p:nvPr>
        </p:nvSpPr>
        <p:spPr>
          <a:xfrm>
            <a:off x="3858119" y="-47517"/>
            <a:ext cx="3863072" cy="3476625"/>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2" name="Title 1"/>
          <p:cNvSpPr>
            <a:spLocks noGrp="1"/>
          </p:cNvSpPr>
          <p:nvPr>
            <p:ph type="title"/>
          </p:nvPr>
        </p:nvSpPr>
        <p:spPr>
          <a:xfrm>
            <a:off x="6096000" y="4543426"/>
            <a:ext cx="2638424" cy="1495424"/>
          </a:xfrm>
        </p:spPr>
        <p:txBody>
          <a:bodyPr/>
          <a:lstStyle>
            <a:lvl1pPr algn="r">
              <a:lnSpc>
                <a:spcPct val="100000"/>
              </a:lnSpc>
              <a:defRPr sz="3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380254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IC4 Pictures with headings">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318250" y="733426"/>
            <a:ext cx="2425699" cy="1495424"/>
          </a:xfrm>
        </p:spPr>
        <p:txBody>
          <a:bodyPr/>
          <a:lstStyle>
            <a:lvl1pPr algn="r">
              <a:lnSpc>
                <a:spcPct val="100000"/>
              </a:lnSpc>
              <a:defRPr sz="3600">
                <a:solidFill>
                  <a:schemeClr val="bg1"/>
                </a:solidFill>
              </a:defRPr>
            </a:lvl1pPr>
          </a:lstStyle>
          <a:p>
            <a:r>
              <a:rPr lang="en-US" dirty="0"/>
              <a:t>Click to edit Master title style</a:t>
            </a:r>
          </a:p>
        </p:txBody>
      </p:sp>
      <p:sp>
        <p:nvSpPr>
          <p:cNvPr id="4" name="Picture Placeholder 3"/>
          <p:cNvSpPr>
            <a:spLocks noGrp="1"/>
          </p:cNvSpPr>
          <p:nvPr>
            <p:ph type="pic" sz="quarter" idx="14"/>
          </p:nvPr>
        </p:nvSpPr>
        <p:spPr>
          <a:xfrm>
            <a:off x="2676426" y="-7620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50000"/>
            </a:schemeClr>
          </a:solidFill>
        </p:spPr>
        <p:txBody>
          <a:bodyPr tIns="1296000"/>
          <a:lstStyle>
            <a:lvl1pPr algn="ctr">
              <a:defRPr sz="1100" b="1">
                <a:solidFill>
                  <a:schemeClr val="bg1"/>
                </a:solidFill>
              </a:defRPr>
            </a:lvl1pPr>
          </a:lstStyle>
          <a:p>
            <a:endParaRPr lang="en-US"/>
          </a:p>
        </p:txBody>
      </p:sp>
      <p:sp>
        <p:nvSpPr>
          <p:cNvPr id="10" name="Picture Placeholder 3"/>
          <p:cNvSpPr>
            <a:spLocks noGrp="1"/>
          </p:cNvSpPr>
          <p:nvPr>
            <p:ph type="pic" sz="quarter" idx="15"/>
          </p:nvPr>
        </p:nvSpPr>
        <p:spPr>
          <a:xfrm>
            <a:off x="-44549" y="-7620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65000"/>
            </a:schemeClr>
          </a:solidFill>
        </p:spPr>
        <p:txBody>
          <a:bodyPr tIns="1296000"/>
          <a:lstStyle>
            <a:lvl1pPr algn="ctr">
              <a:defRPr sz="1100" b="1">
                <a:solidFill>
                  <a:schemeClr val="bg1"/>
                </a:solidFill>
              </a:defRPr>
            </a:lvl1pPr>
          </a:lstStyle>
          <a:p>
            <a:endParaRPr lang="en-US"/>
          </a:p>
        </p:txBody>
      </p:sp>
      <p:sp>
        <p:nvSpPr>
          <p:cNvPr id="11" name="Picture Placeholder 3"/>
          <p:cNvSpPr>
            <a:spLocks noGrp="1"/>
          </p:cNvSpPr>
          <p:nvPr>
            <p:ph type="pic" sz="quarter" idx="16"/>
          </p:nvPr>
        </p:nvSpPr>
        <p:spPr>
          <a:xfrm>
            <a:off x="4009926" y="343535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65000"/>
            </a:schemeClr>
          </a:solidFill>
        </p:spPr>
        <p:txBody>
          <a:bodyPr tIns="1296000"/>
          <a:lstStyle>
            <a:lvl1pPr algn="ctr">
              <a:defRPr sz="1100" b="1">
                <a:solidFill>
                  <a:schemeClr val="bg1"/>
                </a:solidFill>
              </a:defRPr>
            </a:lvl1pPr>
          </a:lstStyle>
          <a:p>
            <a:endParaRPr lang="en-US"/>
          </a:p>
        </p:txBody>
      </p:sp>
      <p:sp>
        <p:nvSpPr>
          <p:cNvPr id="12" name="Picture Placeholder 3"/>
          <p:cNvSpPr>
            <a:spLocks noGrp="1"/>
          </p:cNvSpPr>
          <p:nvPr>
            <p:ph type="pic" sz="quarter" idx="17"/>
          </p:nvPr>
        </p:nvSpPr>
        <p:spPr>
          <a:xfrm>
            <a:off x="1282601" y="343535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50000"/>
            </a:schemeClr>
          </a:solidFill>
        </p:spPr>
        <p:txBody>
          <a:bodyPr tIns="1296000"/>
          <a:lstStyle>
            <a:lvl1pPr algn="ctr">
              <a:defRPr sz="1100" b="1">
                <a:solidFill>
                  <a:schemeClr val="bg1"/>
                </a:solidFill>
              </a:defRPr>
            </a:lvl1pPr>
          </a:lstStyle>
          <a:p>
            <a:endParaRPr lang="en-US"/>
          </a:p>
        </p:txBody>
      </p:sp>
    </p:spTree>
    <p:extLst>
      <p:ext uri="{BB962C8B-B14F-4D97-AF65-F5344CB8AC3E}">
        <p14:creationId xmlns:p14="http://schemas.microsoft.com/office/powerpoint/2010/main" val="927410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IC4 Divider with image">
    <p:bg>
      <p:bgPr>
        <a:solidFill>
          <a:schemeClr val="tx2"/>
        </a:solid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600079" y="2226733"/>
            <a:ext cx="3964301" cy="3747347"/>
          </a:xfrm>
        </p:spPr>
        <p:txBody>
          <a:bodyPr anchor="t">
            <a:noAutofit/>
          </a:bodyPr>
          <a:lstStyle>
            <a:lvl1pPr>
              <a:lnSpc>
                <a:spcPct val="100000"/>
              </a:lnSpc>
              <a:defRPr sz="160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5" name="Parallelogram 4"/>
          <p:cNvSpPr/>
          <p:nvPr userDrawn="1"/>
        </p:nvSpPr>
        <p:spPr>
          <a:xfrm>
            <a:off x="593726"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Picture Placeholder 3"/>
          <p:cNvSpPr>
            <a:spLocks noGrp="1"/>
          </p:cNvSpPr>
          <p:nvPr>
            <p:ph type="pic" sz="quarter" idx="10"/>
          </p:nvPr>
        </p:nvSpPr>
        <p:spPr>
          <a:xfrm>
            <a:off x="3770313" y="-84138"/>
            <a:ext cx="5449887" cy="7018021"/>
          </a:xfrm>
          <a:custGeom>
            <a:avLst/>
            <a:gdLst>
              <a:gd name="connsiteX0" fmla="*/ 0 w 5449887"/>
              <a:gd name="connsiteY0" fmla="*/ 0 h 7010401"/>
              <a:gd name="connsiteX1" fmla="*/ 5449887 w 5449887"/>
              <a:gd name="connsiteY1" fmla="*/ 0 h 7010401"/>
              <a:gd name="connsiteX2" fmla="*/ 5449887 w 5449887"/>
              <a:gd name="connsiteY2" fmla="*/ 7010401 h 7010401"/>
              <a:gd name="connsiteX3" fmla="*/ 0 w 5449887"/>
              <a:gd name="connsiteY3" fmla="*/ 7010401 h 7010401"/>
              <a:gd name="connsiteX4" fmla="*/ 0 w 5449887"/>
              <a:gd name="connsiteY4" fmla="*/ 0 h 7010401"/>
              <a:gd name="connsiteX0" fmla="*/ 0 w 5449887"/>
              <a:gd name="connsiteY0" fmla="*/ 0 h 7018021"/>
              <a:gd name="connsiteX1" fmla="*/ 5449887 w 5449887"/>
              <a:gd name="connsiteY1" fmla="*/ 0 h 7018021"/>
              <a:gd name="connsiteX2" fmla="*/ 5449887 w 5449887"/>
              <a:gd name="connsiteY2" fmla="*/ 7010401 h 7018021"/>
              <a:gd name="connsiteX3" fmla="*/ 2659380 w 5449887"/>
              <a:gd name="connsiteY3" fmla="*/ 7018021 h 7018021"/>
              <a:gd name="connsiteX4" fmla="*/ 0 w 5449887"/>
              <a:gd name="connsiteY4" fmla="*/ 0 h 7018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9887" h="7018021">
                <a:moveTo>
                  <a:pt x="0" y="0"/>
                </a:moveTo>
                <a:lnTo>
                  <a:pt x="5449887" y="0"/>
                </a:lnTo>
                <a:lnTo>
                  <a:pt x="5449887" y="7010401"/>
                </a:lnTo>
                <a:lnTo>
                  <a:pt x="2659380" y="7018021"/>
                </a:lnTo>
                <a:lnTo>
                  <a:pt x="0" y="0"/>
                </a:lnTo>
                <a:close/>
              </a:path>
            </a:pathLst>
          </a:custGeom>
          <a:solidFill>
            <a:schemeClr val="bg1">
              <a:lumMod val="65000"/>
            </a:schemeClr>
          </a:solidFill>
        </p:spPr>
        <p:txBody>
          <a:bodyPr lIns="2556000" tIns="3780000"/>
          <a:lstStyle>
            <a:lvl1pPr>
              <a:defRPr sz="1400" b="1">
                <a:solidFill>
                  <a:schemeClr val="bg1"/>
                </a:solidFill>
              </a:defRPr>
            </a:lvl1pPr>
          </a:lstStyle>
          <a:p>
            <a:endParaRPr lang="en-US"/>
          </a:p>
        </p:txBody>
      </p:sp>
    </p:spTree>
    <p:extLst>
      <p:ext uri="{BB962C8B-B14F-4D97-AF65-F5344CB8AC3E}">
        <p14:creationId xmlns:p14="http://schemas.microsoft.com/office/powerpoint/2010/main" val="2554674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IC5 Divider with image">
    <p:bg>
      <p:bgPr>
        <a:solidFill>
          <a:schemeClr val="tx2"/>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0" hasCustomPrompt="1"/>
          </p:nvPr>
        </p:nvSpPr>
        <p:spPr>
          <a:xfrm>
            <a:off x="5041032" y="-34440"/>
            <a:ext cx="4159250" cy="6934219"/>
          </a:xfrm>
          <a:custGeom>
            <a:avLst/>
            <a:gdLst>
              <a:gd name="connsiteX0" fmla="*/ 0 w 5842000"/>
              <a:gd name="connsiteY0" fmla="*/ 5194314 h 5194314"/>
              <a:gd name="connsiteX1" fmla="*/ 1984540 w 5842000"/>
              <a:gd name="connsiteY1" fmla="*/ 0 h 5194314"/>
              <a:gd name="connsiteX2" fmla="*/ 5842000 w 5842000"/>
              <a:gd name="connsiteY2" fmla="*/ 0 h 5194314"/>
              <a:gd name="connsiteX3" fmla="*/ 3857460 w 5842000"/>
              <a:gd name="connsiteY3" fmla="*/ 5194314 h 5194314"/>
              <a:gd name="connsiteX4" fmla="*/ 0 w 5842000"/>
              <a:gd name="connsiteY4" fmla="*/ 5194314 h 5194314"/>
              <a:gd name="connsiteX0" fmla="*/ 0 w 4159250"/>
              <a:gd name="connsiteY0" fmla="*/ 5194314 h 5194314"/>
              <a:gd name="connsiteX1" fmla="*/ 1984540 w 4159250"/>
              <a:gd name="connsiteY1" fmla="*/ 0 h 5194314"/>
              <a:gd name="connsiteX2" fmla="*/ 4159250 w 4159250"/>
              <a:gd name="connsiteY2" fmla="*/ 0 h 5194314"/>
              <a:gd name="connsiteX3" fmla="*/ 3857460 w 4159250"/>
              <a:gd name="connsiteY3" fmla="*/ 5194314 h 5194314"/>
              <a:gd name="connsiteX4" fmla="*/ 0 w 4159250"/>
              <a:gd name="connsiteY4" fmla="*/ 5194314 h 5194314"/>
              <a:gd name="connsiteX0" fmla="*/ 0 w 4159250"/>
              <a:gd name="connsiteY0" fmla="*/ 5194314 h 5200664"/>
              <a:gd name="connsiteX1" fmla="*/ 1984540 w 4159250"/>
              <a:gd name="connsiteY1" fmla="*/ 0 h 5200664"/>
              <a:gd name="connsiteX2" fmla="*/ 4159250 w 4159250"/>
              <a:gd name="connsiteY2" fmla="*/ 0 h 5200664"/>
              <a:gd name="connsiteX3" fmla="*/ 4130510 w 4159250"/>
              <a:gd name="connsiteY3" fmla="*/ 5200664 h 5200664"/>
              <a:gd name="connsiteX4" fmla="*/ 0 w 4159250"/>
              <a:gd name="connsiteY4" fmla="*/ 5194314 h 5200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9250" h="5200664">
                <a:moveTo>
                  <a:pt x="0" y="5194314"/>
                </a:moveTo>
                <a:lnTo>
                  <a:pt x="1984540" y="0"/>
                </a:lnTo>
                <a:lnTo>
                  <a:pt x="4159250" y="0"/>
                </a:lnTo>
                <a:lnTo>
                  <a:pt x="4130510" y="5200664"/>
                </a:lnTo>
                <a:lnTo>
                  <a:pt x="0" y="5194314"/>
                </a:lnTo>
                <a:close/>
              </a:path>
            </a:pathLst>
          </a:custGeom>
          <a:solidFill>
            <a:schemeClr val="bg1">
              <a:lumMod val="65000"/>
            </a:schemeClr>
          </a:solidFill>
        </p:spPr>
        <p:txBody>
          <a:bodyPr lIns="1368000" tIns="2700000" rIns="180000">
            <a:normAutofit/>
          </a:bodyPr>
          <a:lstStyle>
            <a:lvl1pPr>
              <a:defRPr sz="1200" b="1" baseline="0">
                <a:solidFill>
                  <a:schemeClr val="bg1"/>
                </a:solidFill>
              </a:defRPr>
            </a:lvl1pPr>
          </a:lstStyle>
          <a:p>
            <a:r>
              <a:rPr lang="en-AU" dirty="0"/>
              <a:t>To insert an image click on icon or leave blank</a:t>
            </a:r>
            <a:endParaRPr lang="en-US" dirty="0"/>
          </a:p>
        </p:txBody>
      </p:sp>
      <p:sp>
        <p:nvSpPr>
          <p:cNvPr id="10" name="Title 9"/>
          <p:cNvSpPr>
            <a:spLocks noGrp="1"/>
          </p:cNvSpPr>
          <p:nvPr>
            <p:ph type="title"/>
          </p:nvPr>
        </p:nvSpPr>
        <p:spPr>
          <a:xfrm>
            <a:off x="600079" y="2226733"/>
            <a:ext cx="5292723" cy="3005667"/>
          </a:xfrm>
        </p:spPr>
        <p:txBody>
          <a:bodyPr anchor="t">
            <a:noAutofit/>
          </a:bodyPr>
          <a:lstStyle>
            <a:lvl1pPr>
              <a:lnSpc>
                <a:spcPts val="3600"/>
              </a:lnSpc>
              <a:defRPr sz="3600">
                <a:solidFill>
                  <a:schemeClr val="bg1"/>
                </a:solidFill>
              </a:defRPr>
            </a:lvl1pPr>
          </a:lstStyle>
          <a:p>
            <a:r>
              <a:rPr lang="en-US" dirty="0"/>
              <a:t>Click to edit Master title style</a:t>
            </a:r>
          </a:p>
        </p:txBody>
      </p:sp>
      <p:sp>
        <p:nvSpPr>
          <p:cNvPr id="5" name="Parallelogram 4"/>
          <p:cNvSpPr/>
          <p:nvPr userDrawn="1"/>
        </p:nvSpPr>
        <p:spPr>
          <a:xfrm>
            <a:off x="593726"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4238909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C6 Divider with image">
    <p:bg>
      <p:bgPr>
        <a:solidFill>
          <a:schemeClr val="tx2"/>
        </a:solidFill>
        <a:effectLst/>
      </p:bgPr>
    </p:bg>
    <p:spTree>
      <p:nvGrpSpPr>
        <p:cNvPr id="1" name=""/>
        <p:cNvGrpSpPr/>
        <p:nvPr/>
      </p:nvGrpSpPr>
      <p:grpSpPr>
        <a:xfrm>
          <a:off x="0" y="0"/>
          <a:ext cx="0" cy="0"/>
          <a:chOff x="0" y="0"/>
          <a:chExt cx="0" cy="0"/>
        </a:xfrm>
      </p:grpSpPr>
      <p:sp>
        <p:nvSpPr>
          <p:cNvPr id="5" name="Parallelogram 4"/>
          <p:cNvSpPr/>
          <p:nvPr userDrawn="1"/>
        </p:nvSpPr>
        <p:spPr>
          <a:xfrm>
            <a:off x="593726"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Picture Placeholder 3"/>
          <p:cNvSpPr>
            <a:spLocks noGrp="1"/>
          </p:cNvSpPr>
          <p:nvPr>
            <p:ph type="pic" sz="quarter" idx="10"/>
          </p:nvPr>
        </p:nvSpPr>
        <p:spPr>
          <a:xfrm>
            <a:off x="3770313" y="-84138"/>
            <a:ext cx="5449887" cy="7018021"/>
          </a:xfrm>
          <a:custGeom>
            <a:avLst/>
            <a:gdLst>
              <a:gd name="connsiteX0" fmla="*/ 0 w 5449887"/>
              <a:gd name="connsiteY0" fmla="*/ 0 h 7010401"/>
              <a:gd name="connsiteX1" fmla="*/ 5449887 w 5449887"/>
              <a:gd name="connsiteY1" fmla="*/ 0 h 7010401"/>
              <a:gd name="connsiteX2" fmla="*/ 5449887 w 5449887"/>
              <a:gd name="connsiteY2" fmla="*/ 7010401 h 7010401"/>
              <a:gd name="connsiteX3" fmla="*/ 0 w 5449887"/>
              <a:gd name="connsiteY3" fmla="*/ 7010401 h 7010401"/>
              <a:gd name="connsiteX4" fmla="*/ 0 w 5449887"/>
              <a:gd name="connsiteY4" fmla="*/ 0 h 7010401"/>
              <a:gd name="connsiteX0" fmla="*/ 0 w 5449887"/>
              <a:gd name="connsiteY0" fmla="*/ 0 h 7018021"/>
              <a:gd name="connsiteX1" fmla="*/ 5449887 w 5449887"/>
              <a:gd name="connsiteY1" fmla="*/ 0 h 7018021"/>
              <a:gd name="connsiteX2" fmla="*/ 5449887 w 5449887"/>
              <a:gd name="connsiteY2" fmla="*/ 7010401 h 7018021"/>
              <a:gd name="connsiteX3" fmla="*/ 2659380 w 5449887"/>
              <a:gd name="connsiteY3" fmla="*/ 7018021 h 7018021"/>
              <a:gd name="connsiteX4" fmla="*/ 0 w 5449887"/>
              <a:gd name="connsiteY4" fmla="*/ 0 h 7018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9887" h="7018021">
                <a:moveTo>
                  <a:pt x="0" y="0"/>
                </a:moveTo>
                <a:lnTo>
                  <a:pt x="5449887" y="0"/>
                </a:lnTo>
                <a:lnTo>
                  <a:pt x="5449887" y="7010401"/>
                </a:lnTo>
                <a:lnTo>
                  <a:pt x="2659380" y="7018021"/>
                </a:lnTo>
                <a:lnTo>
                  <a:pt x="0" y="0"/>
                </a:lnTo>
                <a:close/>
              </a:path>
            </a:pathLst>
          </a:custGeom>
          <a:solidFill>
            <a:schemeClr val="bg1">
              <a:lumMod val="65000"/>
            </a:schemeClr>
          </a:solidFill>
        </p:spPr>
        <p:txBody>
          <a:bodyPr lIns="2556000" tIns="3780000"/>
          <a:lstStyle>
            <a:lvl1pPr>
              <a:defRPr sz="1400" b="1">
                <a:solidFill>
                  <a:schemeClr val="bg1"/>
                </a:solidFill>
              </a:defRPr>
            </a:lvl1pPr>
          </a:lstStyle>
          <a:p>
            <a:endParaRPr lang="en-US"/>
          </a:p>
        </p:txBody>
      </p:sp>
      <p:sp>
        <p:nvSpPr>
          <p:cNvPr id="3" name="Text Placeholder 2"/>
          <p:cNvSpPr>
            <a:spLocks noGrp="1"/>
          </p:cNvSpPr>
          <p:nvPr>
            <p:ph type="body" sz="quarter" idx="11"/>
          </p:nvPr>
        </p:nvSpPr>
        <p:spPr>
          <a:xfrm>
            <a:off x="593726" y="2600325"/>
            <a:ext cx="3759199" cy="2524126"/>
          </a:xfrm>
        </p:spPr>
        <p:txBody>
          <a:bodyPr/>
          <a:lstStyle>
            <a:lvl1pPr>
              <a:defRPr sz="3600">
                <a:solidFill>
                  <a:schemeClr val="bg1"/>
                </a:solidFill>
                <a:latin typeface="Segoe UI Light" panose="020B0502040204020203" pitchFamily="34" charset="0"/>
              </a:defRPr>
            </a:lvl1pPr>
            <a:lvl2pPr>
              <a:defRPr sz="3600">
                <a:latin typeface="Segoe UI Light" panose="020B0502040204020203" pitchFamily="34" charset="0"/>
              </a:defRPr>
            </a:lvl2pPr>
            <a:lvl3pPr>
              <a:defRPr sz="3600">
                <a:latin typeface="Segoe UI Light" panose="020B0502040204020203" pitchFamily="34" charset="0"/>
              </a:defRPr>
            </a:lvl3pPr>
            <a:lvl4pPr>
              <a:defRPr sz="3600">
                <a:latin typeface="Segoe UI Light" panose="020B0502040204020203" pitchFamily="34" charset="0"/>
              </a:defRPr>
            </a:lvl4pPr>
            <a:lvl5pPr>
              <a:defRPr sz="3600">
                <a:latin typeface="Segoe UI Light" panose="020B0502040204020203" pitchFamily="34" charset="0"/>
              </a:defRPr>
            </a:lvl5pPr>
          </a:lstStyle>
          <a:p>
            <a:pPr lvl="0"/>
            <a:r>
              <a:rPr lang="en-US" dirty="0"/>
              <a:t>Click to edit Master text styles</a:t>
            </a:r>
          </a:p>
        </p:txBody>
      </p:sp>
    </p:spTree>
    <p:extLst>
      <p:ext uri="{BB962C8B-B14F-4D97-AF65-F5344CB8AC3E}">
        <p14:creationId xmlns:p14="http://schemas.microsoft.com/office/powerpoint/2010/main" val="2700786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IC7 Divider with image">
    <p:bg>
      <p:bgPr>
        <a:solidFill>
          <a:schemeClr val="tx2"/>
        </a:solidFill>
        <a:effectLst/>
      </p:bgPr>
    </p:bg>
    <p:spTree>
      <p:nvGrpSpPr>
        <p:cNvPr id="1" name=""/>
        <p:cNvGrpSpPr/>
        <p:nvPr/>
      </p:nvGrpSpPr>
      <p:grpSpPr>
        <a:xfrm>
          <a:off x="0" y="0"/>
          <a:ext cx="0" cy="0"/>
          <a:chOff x="0" y="0"/>
          <a:chExt cx="0" cy="0"/>
        </a:xfrm>
      </p:grpSpPr>
      <p:sp>
        <p:nvSpPr>
          <p:cNvPr id="5" name="Parallelogram 4"/>
          <p:cNvSpPr/>
          <p:nvPr userDrawn="1"/>
        </p:nvSpPr>
        <p:spPr>
          <a:xfrm>
            <a:off x="4927601"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sp>
        <p:nvSpPr>
          <p:cNvPr id="3" name="Text Placeholder 2"/>
          <p:cNvSpPr>
            <a:spLocks noGrp="1"/>
          </p:cNvSpPr>
          <p:nvPr>
            <p:ph type="body" sz="quarter" idx="11"/>
          </p:nvPr>
        </p:nvSpPr>
        <p:spPr>
          <a:xfrm>
            <a:off x="4927601" y="2600325"/>
            <a:ext cx="3759199" cy="2524126"/>
          </a:xfrm>
        </p:spPr>
        <p:txBody>
          <a:bodyPr/>
          <a:lstStyle>
            <a:lvl1pPr>
              <a:defRPr sz="3600">
                <a:solidFill>
                  <a:schemeClr val="bg1"/>
                </a:solidFill>
                <a:latin typeface="Segoe UI Light" panose="020B0502040204020203" pitchFamily="34" charset="0"/>
              </a:defRPr>
            </a:lvl1pPr>
            <a:lvl2pPr>
              <a:defRPr sz="3600">
                <a:latin typeface="Segoe UI Light" panose="020B0502040204020203" pitchFamily="34" charset="0"/>
              </a:defRPr>
            </a:lvl2pPr>
            <a:lvl3pPr>
              <a:defRPr sz="3600">
                <a:latin typeface="Segoe UI Light" panose="020B0502040204020203" pitchFamily="34" charset="0"/>
              </a:defRPr>
            </a:lvl3pPr>
            <a:lvl4pPr>
              <a:defRPr sz="3600">
                <a:latin typeface="Segoe UI Light" panose="020B0502040204020203" pitchFamily="34" charset="0"/>
              </a:defRPr>
            </a:lvl4pPr>
            <a:lvl5pPr>
              <a:defRPr sz="3600">
                <a:latin typeface="Segoe UI Light" panose="020B0502040204020203" pitchFamily="34" charset="0"/>
              </a:defRPr>
            </a:lvl5pPr>
          </a:lstStyle>
          <a:p>
            <a:pPr lvl="0"/>
            <a:r>
              <a:rPr lang="en-US" dirty="0"/>
              <a:t>Click to edit Master text styles</a:t>
            </a:r>
          </a:p>
        </p:txBody>
      </p:sp>
      <p:sp>
        <p:nvSpPr>
          <p:cNvPr id="6" name="Picture Placeholder 5"/>
          <p:cNvSpPr>
            <a:spLocks noGrp="1"/>
          </p:cNvSpPr>
          <p:nvPr>
            <p:ph type="pic" sz="quarter" idx="12"/>
          </p:nvPr>
        </p:nvSpPr>
        <p:spPr>
          <a:xfrm>
            <a:off x="-73025" y="-57151"/>
            <a:ext cx="5575300" cy="6988317"/>
          </a:xfrm>
          <a:custGeom>
            <a:avLst/>
            <a:gdLst>
              <a:gd name="connsiteX0" fmla="*/ 0 w 3441700"/>
              <a:gd name="connsiteY0" fmla="*/ 0 h 6940692"/>
              <a:gd name="connsiteX1" fmla="*/ 3441700 w 3441700"/>
              <a:gd name="connsiteY1" fmla="*/ 0 h 6940692"/>
              <a:gd name="connsiteX2" fmla="*/ 3441700 w 3441700"/>
              <a:gd name="connsiteY2" fmla="*/ 6940692 h 6940692"/>
              <a:gd name="connsiteX3" fmla="*/ 0 w 3441700"/>
              <a:gd name="connsiteY3" fmla="*/ 6940692 h 6940692"/>
              <a:gd name="connsiteX4" fmla="*/ 0 w 3441700"/>
              <a:gd name="connsiteY4" fmla="*/ 0 h 6940692"/>
              <a:gd name="connsiteX0" fmla="*/ 0 w 3441700"/>
              <a:gd name="connsiteY0" fmla="*/ 6349 h 6947041"/>
              <a:gd name="connsiteX1" fmla="*/ 831850 w 3441700"/>
              <a:gd name="connsiteY1" fmla="*/ 0 h 6947041"/>
              <a:gd name="connsiteX2" fmla="*/ 3441700 w 3441700"/>
              <a:gd name="connsiteY2" fmla="*/ 6349 h 6947041"/>
              <a:gd name="connsiteX3" fmla="*/ 3441700 w 3441700"/>
              <a:gd name="connsiteY3" fmla="*/ 6947041 h 6947041"/>
              <a:gd name="connsiteX4" fmla="*/ 0 w 3441700"/>
              <a:gd name="connsiteY4" fmla="*/ 6947041 h 6947041"/>
              <a:gd name="connsiteX5" fmla="*/ 0 w 3441700"/>
              <a:gd name="connsiteY5" fmla="*/ 6349 h 6947041"/>
              <a:gd name="connsiteX0" fmla="*/ 0 w 3441700"/>
              <a:gd name="connsiteY0" fmla="*/ 6349 h 6947041"/>
              <a:gd name="connsiteX1" fmla="*/ 831850 w 3441700"/>
              <a:gd name="connsiteY1" fmla="*/ 0 h 6947041"/>
              <a:gd name="connsiteX2" fmla="*/ 3441700 w 3441700"/>
              <a:gd name="connsiteY2" fmla="*/ 6947041 h 6947041"/>
              <a:gd name="connsiteX3" fmla="*/ 0 w 3441700"/>
              <a:gd name="connsiteY3" fmla="*/ 6947041 h 6947041"/>
              <a:gd name="connsiteX4" fmla="*/ 0 w 3441700"/>
              <a:gd name="connsiteY4" fmla="*/ 6349 h 6947041"/>
              <a:gd name="connsiteX0" fmla="*/ 0 w 3441700"/>
              <a:gd name="connsiteY0" fmla="*/ 6349 h 6947041"/>
              <a:gd name="connsiteX1" fmla="*/ 806450 w 3441700"/>
              <a:gd name="connsiteY1" fmla="*/ 0 h 6947041"/>
              <a:gd name="connsiteX2" fmla="*/ 3441700 w 3441700"/>
              <a:gd name="connsiteY2" fmla="*/ 6947041 h 6947041"/>
              <a:gd name="connsiteX3" fmla="*/ 0 w 3441700"/>
              <a:gd name="connsiteY3" fmla="*/ 6947041 h 6947041"/>
              <a:gd name="connsiteX4" fmla="*/ 0 w 3441700"/>
              <a:gd name="connsiteY4" fmla="*/ 6349 h 6947041"/>
              <a:gd name="connsiteX0" fmla="*/ 0 w 3441700"/>
              <a:gd name="connsiteY0" fmla="*/ 0 h 6940692"/>
              <a:gd name="connsiteX1" fmla="*/ 819150 w 3441700"/>
              <a:gd name="connsiteY1" fmla="*/ 1 h 6940692"/>
              <a:gd name="connsiteX2" fmla="*/ 3441700 w 3441700"/>
              <a:gd name="connsiteY2" fmla="*/ 6940692 h 6940692"/>
              <a:gd name="connsiteX3" fmla="*/ 0 w 3441700"/>
              <a:gd name="connsiteY3" fmla="*/ 6940692 h 6940692"/>
              <a:gd name="connsiteX4" fmla="*/ 0 w 3441700"/>
              <a:gd name="connsiteY4" fmla="*/ 0 h 6940692"/>
              <a:gd name="connsiteX0" fmla="*/ 0 w 5575300"/>
              <a:gd name="connsiteY0" fmla="*/ 0 h 6959742"/>
              <a:gd name="connsiteX1" fmla="*/ 2952750 w 5575300"/>
              <a:gd name="connsiteY1" fmla="*/ 19051 h 6959742"/>
              <a:gd name="connsiteX2" fmla="*/ 5575300 w 5575300"/>
              <a:gd name="connsiteY2" fmla="*/ 6959742 h 6959742"/>
              <a:gd name="connsiteX3" fmla="*/ 2133600 w 5575300"/>
              <a:gd name="connsiteY3" fmla="*/ 6959742 h 6959742"/>
              <a:gd name="connsiteX4" fmla="*/ 0 w 5575300"/>
              <a:gd name="connsiteY4" fmla="*/ 0 h 6959742"/>
              <a:gd name="connsiteX0" fmla="*/ 0 w 5575300"/>
              <a:gd name="connsiteY0" fmla="*/ 0 h 6988317"/>
              <a:gd name="connsiteX1" fmla="*/ 2952750 w 5575300"/>
              <a:gd name="connsiteY1" fmla="*/ 19051 h 6988317"/>
              <a:gd name="connsiteX2" fmla="*/ 5575300 w 5575300"/>
              <a:gd name="connsiteY2" fmla="*/ 6959742 h 6988317"/>
              <a:gd name="connsiteX3" fmla="*/ 0 w 5575300"/>
              <a:gd name="connsiteY3" fmla="*/ 6988317 h 6988317"/>
              <a:gd name="connsiteX4" fmla="*/ 0 w 5575300"/>
              <a:gd name="connsiteY4" fmla="*/ 0 h 6988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5300" h="6988317">
                <a:moveTo>
                  <a:pt x="0" y="0"/>
                </a:moveTo>
                <a:lnTo>
                  <a:pt x="2952750" y="19051"/>
                </a:lnTo>
                <a:lnTo>
                  <a:pt x="5575300" y="6959742"/>
                </a:lnTo>
                <a:lnTo>
                  <a:pt x="0" y="6988317"/>
                </a:lnTo>
                <a:lnTo>
                  <a:pt x="0" y="0"/>
                </a:lnTo>
                <a:close/>
              </a:path>
            </a:pathLst>
          </a:custGeom>
          <a:solidFill>
            <a:schemeClr val="bg1">
              <a:lumMod val="65000"/>
            </a:schemeClr>
          </a:solidFill>
        </p:spPr>
        <p:txBody>
          <a:bodyPr lIns="216000" tIns="3060000"/>
          <a:lstStyle>
            <a:lvl1pPr algn="ctr">
              <a:defRPr sz="1400" b="1">
                <a:solidFill>
                  <a:schemeClr val="bg1"/>
                </a:solidFill>
              </a:defRPr>
            </a:lvl1pPr>
          </a:lstStyle>
          <a:p>
            <a:endParaRPr lang="en-US"/>
          </a:p>
        </p:txBody>
      </p:sp>
    </p:spTree>
    <p:extLst>
      <p:ext uri="{BB962C8B-B14F-4D97-AF65-F5344CB8AC3E}">
        <p14:creationId xmlns:p14="http://schemas.microsoft.com/office/powerpoint/2010/main" val="609567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IC8 Divider no image">
    <p:bg>
      <p:bgPr>
        <a:solidFill>
          <a:schemeClr val="tx2"/>
        </a:solid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600079" y="2226733"/>
            <a:ext cx="7896221" cy="3005667"/>
          </a:xfrm>
        </p:spPr>
        <p:txBody>
          <a:bodyPr anchor="t">
            <a:noAutofit/>
          </a:bodyPr>
          <a:lstStyle>
            <a:lvl1pPr>
              <a:lnSpc>
                <a:spcPts val="3600"/>
              </a:lnSpc>
              <a:defRPr sz="3600">
                <a:solidFill>
                  <a:schemeClr val="bg1"/>
                </a:solidFill>
              </a:defRPr>
            </a:lvl1pPr>
          </a:lstStyle>
          <a:p>
            <a:r>
              <a:rPr lang="en-US" dirty="0"/>
              <a:t>Click to edit Master title style</a:t>
            </a:r>
          </a:p>
        </p:txBody>
      </p:sp>
      <p:sp>
        <p:nvSpPr>
          <p:cNvPr id="5" name="Parallelogram 4"/>
          <p:cNvSpPr/>
          <p:nvPr userDrawn="1"/>
        </p:nvSpPr>
        <p:spPr>
          <a:xfrm>
            <a:off x="593726"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143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IC disclaimer">
    <p:bg>
      <p:bgPr>
        <a:solidFill>
          <a:schemeClr val="tx2"/>
        </a:solidFill>
        <a:effectLst/>
      </p:bgPr>
    </p:bg>
    <p:spTree>
      <p:nvGrpSpPr>
        <p:cNvPr id="1" name=""/>
        <p:cNvGrpSpPr/>
        <p:nvPr/>
      </p:nvGrpSpPr>
      <p:grpSpPr>
        <a:xfrm>
          <a:off x="0" y="0"/>
          <a:ext cx="0" cy="0"/>
          <a:chOff x="0" y="0"/>
          <a:chExt cx="0" cy="0"/>
        </a:xfrm>
      </p:grpSpPr>
      <p:sp>
        <p:nvSpPr>
          <p:cNvPr id="4" name="Rectangle 3"/>
          <p:cNvSpPr/>
          <p:nvPr userDrawn="1"/>
        </p:nvSpPr>
        <p:spPr>
          <a:xfrm>
            <a:off x="608013" y="3926361"/>
            <a:ext cx="7956550" cy="1569660"/>
          </a:xfrm>
          <a:prstGeom prst="rect">
            <a:avLst/>
          </a:prstGeom>
        </p:spPr>
        <p:txBody>
          <a:bodyPr wrap="square" lIns="0" tIns="0" rIns="0" bIns="0">
            <a:spAutoFit/>
          </a:bodyPr>
          <a:lstStyle/>
          <a:p>
            <a:pPr>
              <a:spcAft>
                <a:spcPts val="600"/>
              </a:spcAft>
            </a:pPr>
            <a:r>
              <a:rPr lang="en-AU" sz="700" b="1" dirty="0">
                <a:solidFill>
                  <a:srgbClr val="A38F68"/>
                </a:solidFill>
                <a:cs typeface="Segoe UI"/>
              </a:rPr>
              <a:t>DISCLAIMER</a:t>
            </a:r>
          </a:p>
          <a:p>
            <a:pPr>
              <a:spcAft>
                <a:spcPts val="600"/>
              </a:spcAft>
            </a:pPr>
            <a:r>
              <a:rPr lang="en-AU" sz="700" dirty="0">
                <a:solidFill>
                  <a:schemeClr val="bg1"/>
                </a:solidFill>
                <a:cs typeface="Segoe UI"/>
              </a:rPr>
              <a:t>This presentation has been prepared by a representative of Advisian.</a:t>
            </a:r>
          </a:p>
          <a:p>
            <a:pPr>
              <a:spcAft>
                <a:spcPts val="600"/>
              </a:spcAft>
            </a:pPr>
            <a:r>
              <a:rPr lang="en-AU" sz="700" dirty="0">
                <a:solidFill>
                  <a:schemeClr val="bg1"/>
                </a:solidFill>
                <a:cs typeface="Segoe UI"/>
              </a:rPr>
              <a:t>The presentation contains the professional and personal opinions of the presenter, which are given in good faith.  As such, opinions presented herein may not always necessarily reflect the position of </a:t>
            </a:r>
            <a:r>
              <a:rPr lang="en-AU" sz="700" dirty="0">
                <a:solidFill>
                  <a:schemeClr val="bg1"/>
                </a:solidFill>
                <a:cs typeface="+mn-cs"/>
              </a:rPr>
              <a:t>Advisian </a:t>
            </a:r>
            <a:r>
              <a:rPr lang="en-AU" sz="700" dirty="0">
                <a:solidFill>
                  <a:schemeClr val="bg1"/>
                </a:solidFill>
                <a:cs typeface="Segoe UI"/>
              </a:rPr>
              <a:t>as a whole, its officers or executive.</a:t>
            </a:r>
          </a:p>
          <a:p>
            <a:pPr>
              <a:spcAft>
                <a:spcPts val="600"/>
              </a:spcAft>
            </a:pPr>
            <a:r>
              <a:rPr lang="en-AU" sz="700" dirty="0">
                <a:solidFill>
                  <a:schemeClr val="bg1"/>
                </a:solidFill>
                <a:cs typeface="Segoe UI"/>
              </a:rPr>
              <a:t>Any forward-looking statements included in this presentation will involve subjective judgment and analysis and are subject to uncertainties, risks and contingencies—many of which are outside the control of, and may be unknown to, </a:t>
            </a:r>
            <a:r>
              <a:rPr lang="en-AU" sz="700" dirty="0">
                <a:solidFill>
                  <a:schemeClr val="bg1"/>
                </a:solidFill>
                <a:cs typeface="+mn-cs"/>
              </a:rPr>
              <a:t>Advisian.  </a:t>
            </a:r>
            <a:endParaRPr lang="en-AU" sz="700" dirty="0">
              <a:solidFill>
                <a:schemeClr val="bg1"/>
              </a:solidFill>
              <a:cs typeface="Segoe UI"/>
            </a:endParaRPr>
          </a:p>
          <a:p>
            <a:pPr>
              <a:spcAft>
                <a:spcPts val="600"/>
              </a:spcAft>
            </a:pPr>
            <a:r>
              <a:rPr lang="en-AU" sz="700" dirty="0">
                <a:solidFill>
                  <a:schemeClr val="bg1"/>
                </a:solidFill>
                <a:cs typeface="+mn-cs"/>
              </a:rPr>
              <a:t>Advisian </a:t>
            </a:r>
            <a:r>
              <a:rPr lang="en-AU" sz="700" dirty="0">
                <a:solidFill>
                  <a:schemeClr val="bg1"/>
                </a:solidFill>
                <a:cs typeface="Segoe UI"/>
              </a:rPr>
              <a:t>and all associated entities and representatives make no representation or warranty as to the accuracy, reliability or completeness of information in this document and do not take responsibility for updating any information or correcting any error or omission that may become apparent after this document has been issued.</a:t>
            </a:r>
          </a:p>
          <a:p>
            <a:pPr>
              <a:spcAft>
                <a:spcPts val="600"/>
              </a:spcAft>
            </a:pPr>
            <a:r>
              <a:rPr lang="en-AU" sz="700" dirty="0">
                <a:solidFill>
                  <a:schemeClr val="bg1"/>
                </a:solidFill>
                <a:cs typeface="Segoe UI"/>
              </a:rPr>
              <a:t>To the extent permitted by law, </a:t>
            </a:r>
            <a:r>
              <a:rPr lang="en-AU" sz="700" dirty="0">
                <a:solidFill>
                  <a:schemeClr val="bg1"/>
                </a:solidFill>
                <a:cs typeface="+mn-cs"/>
              </a:rPr>
              <a:t>Advisian </a:t>
            </a:r>
            <a:r>
              <a:rPr lang="en-AU" sz="700" dirty="0">
                <a:solidFill>
                  <a:schemeClr val="bg1"/>
                </a:solidFill>
                <a:cs typeface="Segoe UI"/>
              </a:rPr>
              <a:t>and its officers, employees, related bodies and agents disclaim all liability—direct, indirect or consequential (and whether or not arising out of the negligence, default or lack of care of </a:t>
            </a:r>
            <a:r>
              <a:rPr lang="en-AU" sz="700" dirty="0">
                <a:solidFill>
                  <a:schemeClr val="bg1"/>
                </a:solidFill>
                <a:cs typeface="+mn-cs"/>
              </a:rPr>
              <a:t>Advisian </a:t>
            </a:r>
            <a:r>
              <a:rPr lang="en-AU" sz="700" dirty="0">
                <a:solidFill>
                  <a:schemeClr val="bg1"/>
                </a:solidFill>
                <a:cs typeface="Segoe UI"/>
              </a:rPr>
              <a:t>and/or any of its agents)—for any loss or damage suffered by a recipient or other persons arising out of, or in connection with, any use or reliance on this presentation or information.</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5525" y="792432"/>
            <a:ext cx="1367269" cy="471420"/>
          </a:xfrm>
          <a:prstGeom prst="rect">
            <a:avLst/>
          </a:prstGeom>
          <a:noFill/>
          <a:ln>
            <a:noFill/>
          </a:ln>
        </p:spPr>
      </p:pic>
    </p:spTree>
    <p:extLst>
      <p:ext uri="{BB962C8B-B14F-4D97-AF65-F5344CB8AC3E}">
        <p14:creationId xmlns:p14="http://schemas.microsoft.com/office/powerpoint/2010/main" val="4206499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IC back page">
    <p:bg>
      <p:bgPr>
        <a:solidFill>
          <a:schemeClr val="tx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60248" y="2942242"/>
            <a:ext cx="2823502" cy="973516"/>
          </a:xfrm>
          <a:prstGeom prst="rect">
            <a:avLst/>
          </a:prstGeom>
          <a:noFill/>
          <a:ln>
            <a:noFill/>
          </a:ln>
        </p:spPr>
      </p:pic>
    </p:spTree>
    <p:extLst>
      <p:ext uri="{BB962C8B-B14F-4D97-AF65-F5344CB8AC3E}">
        <p14:creationId xmlns:p14="http://schemas.microsoft.com/office/powerpoint/2010/main" val="3242587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2 - white">
    <p:bg>
      <p:bgPr>
        <a:solidFill>
          <a:schemeClr val="bg1"/>
        </a:solidFill>
        <a:effectLst/>
      </p:bgPr>
    </p:bg>
    <p:spTree>
      <p:nvGrpSpPr>
        <p:cNvPr id="1" name=""/>
        <p:cNvGrpSpPr/>
        <p:nvPr/>
      </p:nvGrpSpPr>
      <p:grpSpPr>
        <a:xfrm>
          <a:off x="0" y="0"/>
          <a:ext cx="0" cy="0"/>
          <a:chOff x="0" y="0"/>
          <a:chExt cx="0" cy="0"/>
        </a:xfrm>
      </p:grpSpPr>
      <p:sp>
        <p:nvSpPr>
          <p:cNvPr id="28" name="Text Placeholder 26"/>
          <p:cNvSpPr>
            <a:spLocks noGrp="1"/>
          </p:cNvSpPr>
          <p:nvPr>
            <p:ph type="body" sz="quarter" idx="11"/>
          </p:nvPr>
        </p:nvSpPr>
        <p:spPr>
          <a:xfrm>
            <a:off x="4475473" y="4240468"/>
            <a:ext cx="4354126" cy="677333"/>
          </a:xfrm>
          <a:prstGeom prst="rect">
            <a:avLst/>
          </a:prstGeom>
        </p:spPr>
        <p:txBody>
          <a:bodyPr lIns="0" tIns="0" rIns="0" bIns="0">
            <a:noAutofit/>
          </a:bodyPr>
          <a:lstStyle>
            <a:lvl1pPr>
              <a:spcBef>
                <a:spcPts val="0"/>
              </a:spcBef>
              <a:spcAft>
                <a:spcPts val="0"/>
              </a:spcAft>
              <a:defRPr sz="1000">
                <a:solidFill>
                  <a:schemeClr val="tx1"/>
                </a:solidFill>
              </a:defRPr>
            </a:lvl1pPr>
          </a:lstStyle>
          <a:p>
            <a:pPr lvl="0"/>
            <a:r>
              <a:rPr lang="en-US" dirty="0"/>
              <a:t>Click to edit Master text styles</a:t>
            </a:r>
          </a:p>
        </p:txBody>
      </p:sp>
      <p:sp>
        <p:nvSpPr>
          <p:cNvPr id="29" name="Title 28"/>
          <p:cNvSpPr>
            <a:spLocks noGrp="1"/>
          </p:cNvSpPr>
          <p:nvPr>
            <p:ph type="title"/>
          </p:nvPr>
        </p:nvSpPr>
        <p:spPr>
          <a:xfrm>
            <a:off x="4475473" y="1610919"/>
            <a:ext cx="4343012" cy="1711401"/>
          </a:xfrm>
        </p:spPr>
        <p:txBody>
          <a:bodyPr>
            <a:noAutofit/>
          </a:bodyPr>
          <a:lstStyle>
            <a:lvl1pPr>
              <a:lnSpc>
                <a:spcPts val="2800"/>
              </a:lnSpc>
              <a:defRPr sz="2800">
                <a:solidFill>
                  <a:schemeClr val="tx1"/>
                </a:solidFill>
              </a:defRPr>
            </a:lvl1pPr>
          </a:lstStyle>
          <a:p>
            <a:r>
              <a:rPr lang="en-US" dirty="0"/>
              <a:t>Click to edit Master title style</a:t>
            </a:r>
          </a:p>
        </p:txBody>
      </p:sp>
      <p:sp>
        <p:nvSpPr>
          <p:cNvPr id="33" name="Text Placeholder 32"/>
          <p:cNvSpPr>
            <a:spLocks noGrp="1"/>
          </p:cNvSpPr>
          <p:nvPr>
            <p:ph type="body" sz="quarter" idx="12"/>
          </p:nvPr>
        </p:nvSpPr>
        <p:spPr>
          <a:xfrm>
            <a:off x="4475473" y="3546203"/>
            <a:ext cx="4327774" cy="601133"/>
          </a:xfrm>
          <a:prstGeom prst="rect">
            <a:avLst/>
          </a:prstGeom>
        </p:spPr>
        <p:txBody>
          <a:bodyPr lIns="0" tIns="0" rIns="0" bIns="0">
            <a:noAutofit/>
          </a:bodyPr>
          <a:lstStyle>
            <a:lvl1pPr>
              <a:defRPr>
                <a:solidFill>
                  <a:schemeClr val="tx1"/>
                </a:solidFill>
              </a:defRPr>
            </a:lvl1pPr>
          </a:lstStyle>
          <a:p>
            <a:pPr lvl="0"/>
            <a:r>
              <a:rPr lang="en-US" dirty="0"/>
              <a:t>Click to edit Master text styles</a:t>
            </a:r>
          </a:p>
        </p:txBody>
      </p:sp>
      <p:sp>
        <p:nvSpPr>
          <p:cNvPr id="10" name="Date Placeholder 3"/>
          <p:cNvSpPr txBox="1">
            <a:spLocks/>
          </p:cNvSpPr>
          <p:nvPr userDrawn="1"/>
        </p:nvSpPr>
        <p:spPr>
          <a:xfrm>
            <a:off x="4475473" y="6248944"/>
            <a:ext cx="1269504" cy="216024"/>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900" dirty="0">
                <a:solidFill>
                  <a:schemeClr val="tx1"/>
                </a:solidFill>
                <a:latin typeface="Segoe UI" panose="020B0502040204020203" pitchFamily="34" charset="0"/>
                <a:ea typeface="Segoe UI" panose="020B0502040204020203" pitchFamily="34" charset="0"/>
                <a:cs typeface="Segoe UI" panose="020B0502040204020203" pitchFamily="34" charset="0"/>
              </a:rPr>
              <a:t>www.</a:t>
            </a:r>
            <a:r>
              <a:rPr lang="en-AU" sz="900" b="1" dirty="0">
                <a:solidFill>
                  <a:schemeClr val="tx1"/>
                </a:solidFill>
                <a:latin typeface="Segoe UI" panose="020B0502040204020203" pitchFamily="34" charset="0"/>
                <a:ea typeface="Segoe UI" panose="020B0502040204020203" pitchFamily="34" charset="0"/>
                <a:cs typeface="Segoe UI" panose="020B0502040204020203" pitchFamily="34" charset="0"/>
              </a:rPr>
              <a:t>advisian</a:t>
            </a:r>
            <a:r>
              <a:rPr lang="en-AU" sz="900" dirty="0">
                <a:solidFill>
                  <a:schemeClr val="tx1"/>
                </a:solidFill>
                <a:latin typeface="Segoe UI" panose="020B0502040204020203" pitchFamily="34" charset="0"/>
                <a:ea typeface="Segoe UI" panose="020B0502040204020203" pitchFamily="34" charset="0"/>
                <a:cs typeface="Segoe UI" panose="020B0502040204020203" pitchFamily="34" charset="0"/>
              </a:rPr>
              <a:t>.com</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75473" y="5346848"/>
            <a:ext cx="1227613" cy="423269"/>
          </a:xfrm>
          <a:prstGeom prst="rect">
            <a:avLst/>
          </a:prstGeom>
          <a:noFill/>
          <a:ln>
            <a:noFill/>
          </a:ln>
        </p:spPr>
      </p:pic>
      <p:sp>
        <p:nvSpPr>
          <p:cNvPr id="5" name="Picture Placeholder 4"/>
          <p:cNvSpPr>
            <a:spLocks noGrp="1"/>
          </p:cNvSpPr>
          <p:nvPr>
            <p:ph type="pic" sz="quarter" idx="17"/>
          </p:nvPr>
        </p:nvSpPr>
        <p:spPr>
          <a:xfrm>
            <a:off x="-66674" y="-76200"/>
            <a:ext cx="5271134" cy="7002780"/>
          </a:xfrm>
          <a:custGeom>
            <a:avLst/>
            <a:gdLst>
              <a:gd name="connsiteX0" fmla="*/ 0 w 5271134"/>
              <a:gd name="connsiteY0" fmla="*/ 0 h 7000876"/>
              <a:gd name="connsiteX1" fmla="*/ 5271134 w 5271134"/>
              <a:gd name="connsiteY1" fmla="*/ 0 h 7000876"/>
              <a:gd name="connsiteX2" fmla="*/ 5271134 w 5271134"/>
              <a:gd name="connsiteY2" fmla="*/ 7000876 h 7000876"/>
              <a:gd name="connsiteX3" fmla="*/ 0 w 5271134"/>
              <a:gd name="connsiteY3" fmla="*/ 7000876 h 7000876"/>
              <a:gd name="connsiteX4" fmla="*/ 0 w 5271134"/>
              <a:gd name="connsiteY4" fmla="*/ 0 h 7000876"/>
              <a:gd name="connsiteX0" fmla="*/ 0 w 5271134"/>
              <a:gd name="connsiteY0" fmla="*/ 0 h 7002780"/>
              <a:gd name="connsiteX1" fmla="*/ 5271134 w 5271134"/>
              <a:gd name="connsiteY1" fmla="*/ 0 h 7002780"/>
              <a:gd name="connsiteX2" fmla="*/ 5271134 w 5271134"/>
              <a:gd name="connsiteY2" fmla="*/ 7000876 h 7002780"/>
              <a:gd name="connsiteX3" fmla="*/ 2619374 w 5271134"/>
              <a:gd name="connsiteY3" fmla="*/ 7002780 h 7002780"/>
              <a:gd name="connsiteX4" fmla="*/ 0 w 5271134"/>
              <a:gd name="connsiteY4" fmla="*/ 7000876 h 7002780"/>
              <a:gd name="connsiteX5" fmla="*/ 0 w 5271134"/>
              <a:gd name="connsiteY5" fmla="*/ 0 h 7002780"/>
              <a:gd name="connsiteX0" fmla="*/ 0 w 5271134"/>
              <a:gd name="connsiteY0" fmla="*/ 0 h 7002780"/>
              <a:gd name="connsiteX1" fmla="*/ 5271134 w 5271134"/>
              <a:gd name="connsiteY1" fmla="*/ 0 h 7002780"/>
              <a:gd name="connsiteX2" fmla="*/ 2619374 w 5271134"/>
              <a:gd name="connsiteY2" fmla="*/ 7002780 h 7002780"/>
              <a:gd name="connsiteX3" fmla="*/ 0 w 5271134"/>
              <a:gd name="connsiteY3" fmla="*/ 7000876 h 7002780"/>
              <a:gd name="connsiteX4" fmla="*/ 0 w 5271134"/>
              <a:gd name="connsiteY4" fmla="*/ 0 h 7002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1134" h="7002780">
                <a:moveTo>
                  <a:pt x="0" y="0"/>
                </a:moveTo>
                <a:lnTo>
                  <a:pt x="5271134" y="0"/>
                </a:lnTo>
                <a:lnTo>
                  <a:pt x="2619374" y="7002780"/>
                </a:lnTo>
                <a:lnTo>
                  <a:pt x="0" y="7000876"/>
                </a:lnTo>
                <a:lnTo>
                  <a:pt x="0" y="0"/>
                </a:lnTo>
                <a:close/>
              </a:path>
            </a:pathLst>
          </a:custGeom>
          <a:solidFill>
            <a:schemeClr val="bg1">
              <a:lumMod val="65000"/>
            </a:schemeClr>
          </a:solidFill>
        </p:spPr>
        <p:txBody>
          <a:bodyPr lIns="576000" tIns="3348000"/>
          <a:lstStyle>
            <a:lvl1pPr>
              <a:defRPr sz="1200" b="1">
                <a:solidFill>
                  <a:schemeClr val="bg1"/>
                </a:solidFill>
              </a:defRPr>
            </a:lvl1pPr>
          </a:lstStyle>
          <a:p>
            <a:endParaRPr lang="en-US"/>
          </a:p>
        </p:txBody>
      </p:sp>
      <p:sp>
        <p:nvSpPr>
          <p:cNvPr id="7" name="Picture Placeholder 6"/>
          <p:cNvSpPr>
            <a:spLocks noGrp="1"/>
          </p:cNvSpPr>
          <p:nvPr>
            <p:ph type="pic" sz="quarter" idx="18" hasCustomPrompt="1"/>
          </p:nvPr>
        </p:nvSpPr>
        <p:spPr>
          <a:xfrm>
            <a:off x="7448550" y="5300217"/>
            <a:ext cx="1397000" cy="469900"/>
          </a:xfrm>
        </p:spPr>
        <p:txBody>
          <a:bodyPr/>
          <a:lstStyle>
            <a:lvl1pPr algn="ctr">
              <a:defRPr sz="800" b="1"/>
            </a:lvl1pPr>
          </a:lstStyle>
          <a:p>
            <a:r>
              <a:rPr lang="en-AU" dirty="0"/>
              <a:t>Client logo</a:t>
            </a:r>
            <a:endParaRPr lang="en-US" dirty="0"/>
          </a:p>
        </p:txBody>
      </p:sp>
    </p:spTree>
    <p:extLst>
      <p:ext uri="{BB962C8B-B14F-4D97-AF65-F5344CB8AC3E}">
        <p14:creationId xmlns:p14="http://schemas.microsoft.com/office/powerpoint/2010/main" val="2269608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AG1 Pictures with headings">
    <p:bg>
      <p:bgPr>
        <a:solidFill>
          <a:schemeClr val="bg2"/>
        </a:solidFill>
        <a:effectLst/>
      </p:bgPr>
    </p:bg>
    <p:spTree>
      <p:nvGrpSpPr>
        <p:cNvPr id="1" name=""/>
        <p:cNvGrpSpPr/>
        <p:nvPr/>
      </p:nvGrpSpPr>
      <p:grpSpPr>
        <a:xfrm>
          <a:off x="0" y="0"/>
          <a:ext cx="0" cy="0"/>
          <a:chOff x="0" y="0"/>
          <a:chExt cx="0" cy="0"/>
        </a:xfrm>
      </p:grpSpPr>
      <p:sp>
        <p:nvSpPr>
          <p:cNvPr id="30" name="Picture Placeholder 26"/>
          <p:cNvSpPr>
            <a:spLocks noGrp="1"/>
          </p:cNvSpPr>
          <p:nvPr>
            <p:ph type="pic" sz="quarter" idx="13"/>
          </p:nvPr>
        </p:nvSpPr>
        <p:spPr>
          <a:xfrm>
            <a:off x="-771525" y="346559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3" name="Picture Placeholder 26"/>
          <p:cNvSpPr>
            <a:spLocks noGrp="1"/>
          </p:cNvSpPr>
          <p:nvPr>
            <p:ph type="pic" sz="quarter" idx="16"/>
          </p:nvPr>
        </p:nvSpPr>
        <p:spPr>
          <a:xfrm>
            <a:off x="552450" y="-12927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18" name="Text Placeholder 36"/>
          <p:cNvSpPr>
            <a:spLocks noGrp="1"/>
          </p:cNvSpPr>
          <p:nvPr>
            <p:ph type="body" sz="quarter" idx="25"/>
          </p:nvPr>
        </p:nvSpPr>
        <p:spPr>
          <a:xfrm>
            <a:off x="545306" y="287660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5" name="Text Placeholder 36"/>
          <p:cNvSpPr>
            <a:spLocks noGrp="1"/>
          </p:cNvSpPr>
          <p:nvPr>
            <p:ph type="body" sz="quarter" idx="26"/>
          </p:nvPr>
        </p:nvSpPr>
        <p:spPr>
          <a:xfrm>
            <a:off x="321469" y="347747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9" name="Picture Placeholder 26"/>
          <p:cNvSpPr>
            <a:spLocks noGrp="1"/>
          </p:cNvSpPr>
          <p:nvPr>
            <p:ph type="pic" sz="quarter" idx="27"/>
          </p:nvPr>
        </p:nvSpPr>
        <p:spPr>
          <a:xfrm>
            <a:off x="1872615" y="346559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6" name="Picture Placeholder 26"/>
          <p:cNvSpPr>
            <a:spLocks noGrp="1"/>
          </p:cNvSpPr>
          <p:nvPr>
            <p:ph type="pic" sz="quarter" idx="28"/>
          </p:nvPr>
        </p:nvSpPr>
        <p:spPr>
          <a:xfrm>
            <a:off x="3196590" y="-12927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43" name="Text Placeholder 36"/>
          <p:cNvSpPr>
            <a:spLocks noGrp="1"/>
          </p:cNvSpPr>
          <p:nvPr>
            <p:ph type="body" sz="quarter" idx="29"/>
          </p:nvPr>
        </p:nvSpPr>
        <p:spPr>
          <a:xfrm>
            <a:off x="3189446" y="287660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4" name="Text Placeholder 36"/>
          <p:cNvSpPr>
            <a:spLocks noGrp="1"/>
          </p:cNvSpPr>
          <p:nvPr>
            <p:ph type="body" sz="quarter" idx="30"/>
          </p:nvPr>
        </p:nvSpPr>
        <p:spPr>
          <a:xfrm>
            <a:off x="2965609" y="347747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5" name="Picture Placeholder 26"/>
          <p:cNvSpPr>
            <a:spLocks noGrp="1"/>
          </p:cNvSpPr>
          <p:nvPr>
            <p:ph type="pic" sz="quarter" idx="31"/>
          </p:nvPr>
        </p:nvSpPr>
        <p:spPr>
          <a:xfrm>
            <a:off x="4509136" y="3465595"/>
            <a:ext cx="3987164"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46" name="Picture Placeholder 26"/>
          <p:cNvSpPr>
            <a:spLocks noGrp="1"/>
          </p:cNvSpPr>
          <p:nvPr>
            <p:ph type="pic" sz="quarter" idx="32"/>
          </p:nvPr>
        </p:nvSpPr>
        <p:spPr>
          <a:xfrm>
            <a:off x="5833110" y="-129275"/>
            <a:ext cx="3977640"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47" name="Text Placeholder 36"/>
          <p:cNvSpPr>
            <a:spLocks noGrp="1"/>
          </p:cNvSpPr>
          <p:nvPr>
            <p:ph type="body" sz="quarter" idx="33"/>
          </p:nvPr>
        </p:nvSpPr>
        <p:spPr>
          <a:xfrm>
            <a:off x="5831790" y="287660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8" name="Text Placeholder 36"/>
          <p:cNvSpPr>
            <a:spLocks noGrp="1"/>
          </p:cNvSpPr>
          <p:nvPr>
            <p:ph type="body" sz="quarter" idx="34"/>
          </p:nvPr>
        </p:nvSpPr>
        <p:spPr>
          <a:xfrm>
            <a:off x="5607953" y="347747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240291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AG2 Pictures with headings">
    <p:bg>
      <p:bgPr>
        <a:solidFill>
          <a:schemeClr val="bg2"/>
        </a:solidFill>
        <a:effectLst/>
      </p:bgPr>
    </p:bg>
    <p:spTree>
      <p:nvGrpSpPr>
        <p:cNvPr id="1" name=""/>
        <p:cNvGrpSpPr/>
        <p:nvPr/>
      </p:nvGrpSpPr>
      <p:grpSpPr>
        <a:xfrm>
          <a:off x="0" y="0"/>
          <a:ext cx="0" cy="0"/>
          <a:chOff x="0" y="0"/>
          <a:chExt cx="0" cy="0"/>
        </a:xfrm>
      </p:grpSpPr>
      <p:sp>
        <p:nvSpPr>
          <p:cNvPr id="30" name="Picture Placeholder 26"/>
          <p:cNvSpPr>
            <a:spLocks noGrp="1"/>
          </p:cNvSpPr>
          <p:nvPr>
            <p:ph type="pic" sz="quarter" idx="13"/>
          </p:nvPr>
        </p:nvSpPr>
        <p:spPr>
          <a:xfrm>
            <a:off x="-771525" y="346559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1" name="Picture Placeholder 26"/>
          <p:cNvSpPr>
            <a:spLocks noGrp="1"/>
          </p:cNvSpPr>
          <p:nvPr>
            <p:ph type="pic" sz="quarter" idx="14"/>
          </p:nvPr>
        </p:nvSpPr>
        <p:spPr>
          <a:xfrm>
            <a:off x="1899779" y="346559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2" name="Picture Placeholder 26"/>
          <p:cNvSpPr>
            <a:spLocks noGrp="1"/>
          </p:cNvSpPr>
          <p:nvPr>
            <p:ph type="pic" sz="quarter" idx="15"/>
          </p:nvPr>
        </p:nvSpPr>
        <p:spPr>
          <a:xfrm>
            <a:off x="4580608" y="346559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3" name="Picture Placeholder 26"/>
          <p:cNvSpPr>
            <a:spLocks noGrp="1"/>
          </p:cNvSpPr>
          <p:nvPr>
            <p:ph type="pic" sz="quarter" idx="16"/>
          </p:nvPr>
        </p:nvSpPr>
        <p:spPr>
          <a:xfrm>
            <a:off x="552450" y="-12927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4" name="Picture Placeholder 26"/>
          <p:cNvSpPr>
            <a:spLocks noGrp="1"/>
          </p:cNvSpPr>
          <p:nvPr>
            <p:ph type="pic" sz="quarter" idx="17"/>
          </p:nvPr>
        </p:nvSpPr>
        <p:spPr>
          <a:xfrm>
            <a:off x="3223754" y="-12927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5" name="Picture Placeholder 26"/>
          <p:cNvSpPr>
            <a:spLocks noGrp="1"/>
          </p:cNvSpPr>
          <p:nvPr>
            <p:ph type="pic" sz="quarter" idx="18"/>
          </p:nvPr>
        </p:nvSpPr>
        <p:spPr>
          <a:xfrm>
            <a:off x="5904583" y="-12927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7" name="Text Placeholder 36"/>
          <p:cNvSpPr>
            <a:spLocks noGrp="1"/>
          </p:cNvSpPr>
          <p:nvPr>
            <p:ph type="body" sz="quarter" idx="19"/>
          </p:nvPr>
        </p:nvSpPr>
        <p:spPr>
          <a:xfrm>
            <a:off x="-190500" y="59150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38" name="Text Placeholder 36"/>
          <p:cNvSpPr>
            <a:spLocks noGrp="1"/>
          </p:cNvSpPr>
          <p:nvPr>
            <p:ph type="body" sz="quarter" idx="20"/>
          </p:nvPr>
        </p:nvSpPr>
        <p:spPr>
          <a:xfrm>
            <a:off x="4591050" y="361950"/>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39" name="Text Placeholder 36"/>
          <p:cNvSpPr>
            <a:spLocks noGrp="1"/>
          </p:cNvSpPr>
          <p:nvPr>
            <p:ph type="body" sz="quarter" idx="21"/>
          </p:nvPr>
        </p:nvSpPr>
        <p:spPr>
          <a:xfrm>
            <a:off x="3324225" y="3714750"/>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1" name="Text Placeholder 36"/>
          <p:cNvSpPr>
            <a:spLocks noGrp="1"/>
          </p:cNvSpPr>
          <p:nvPr>
            <p:ph type="body" sz="quarter" idx="23"/>
          </p:nvPr>
        </p:nvSpPr>
        <p:spPr>
          <a:xfrm>
            <a:off x="5172075" y="59150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2" name="Text Placeholder 36"/>
          <p:cNvSpPr>
            <a:spLocks noGrp="1"/>
          </p:cNvSpPr>
          <p:nvPr>
            <p:ph type="body" sz="quarter" idx="24"/>
          </p:nvPr>
        </p:nvSpPr>
        <p:spPr>
          <a:xfrm>
            <a:off x="6400800" y="26003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5" name="Text Placeholder 36"/>
          <p:cNvSpPr>
            <a:spLocks noGrp="1"/>
          </p:cNvSpPr>
          <p:nvPr>
            <p:ph type="body" sz="quarter" idx="25"/>
          </p:nvPr>
        </p:nvSpPr>
        <p:spPr>
          <a:xfrm>
            <a:off x="990600" y="26003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619014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AG3 Pictures with headings">
    <p:bg>
      <p:bgPr>
        <a:solidFill>
          <a:schemeClr val="bg2"/>
        </a:solidFill>
        <a:effectLst/>
      </p:bgPr>
    </p:bg>
    <p:spTree>
      <p:nvGrpSpPr>
        <p:cNvPr id="1" name=""/>
        <p:cNvGrpSpPr/>
        <p:nvPr/>
      </p:nvGrpSpPr>
      <p:grpSpPr>
        <a:xfrm>
          <a:off x="0" y="0"/>
          <a:ext cx="0" cy="0"/>
          <a:chOff x="0" y="0"/>
          <a:chExt cx="0" cy="0"/>
        </a:xfrm>
      </p:grpSpPr>
      <p:sp>
        <p:nvSpPr>
          <p:cNvPr id="30" name="Picture Placeholder 26"/>
          <p:cNvSpPr>
            <a:spLocks noGrp="1"/>
          </p:cNvSpPr>
          <p:nvPr>
            <p:ph type="pic" sz="quarter" idx="13"/>
          </p:nvPr>
        </p:nvSpPr>
        <p:spPr>
          <a:xfrm>
            <a:off x="-7510" y="3427229"/>
            <a:ext cx="3863072" cy="3476625"/>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1" name="Picture Placeholder 26"/>
          <p:cNvSpPr>
            <a:spLocks noGrp="1"/>
          </p:cNvSpPr>
          <p:nvPr>
            <p:ph type="pic" sz="quarter" idx="14"/>
          </p:nvPr>
        </p:nvSpPr>
        <p:spPr>
          <a:xfrm>
            <a:off x="2579646" y="3427229"/>
            <a:ext cx="3863072" cy="3476625"/>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3" name="Picture Placeholder 26"/>
          <p:cNvSpPr>
            <a:spLocks noGrp="1"/>
          </p:cNvSpPr>
          <p:nvPr>
            <p:ph type="pic" sz="quarter" idx="16"/>
          </p:nvPr>
        </p:nvSpPr>
        <p:spPr>
          <a:xfrm>
            <a:off x="1267779" y="-47517"/>
            <a:ext cx="3863072" cy="3476625"/>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4" name="Picture Placeholder 26"/>
          <p:cNvSpPr>
            <a:spLocks noGrp="1"/>
          </p:cNvSpPr>
          <p:nvPr>
            <p:ph type="pic" sz="quarter" idx="17"/>
          </p:nvPr>
        </p:nvSpPr>
        <p:spPr>
          <a:xfrm>
            <a:off x="3858119" y="-47517"/>
            <a:ext cx="3863072" cy="3476625"/>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2" name="Title 1"/>
          <p:cNvSpPr>
            <a:spLocks noGrp="1"/>
          </p:cNvSpPr>
          <p:nvPr>
            <p:ph type="title"/>
          </p:nvPr>
        </p:nvSpPr>
        <p:spPr>
          <a:xfrm>
            <a:off x="6096000" y="4543426"/>
            <a:ext cx="2638424" cy="1495424"/>
          </a:xfrm>
        </p:spPr>
        <p:txBody>
          <a:bodyPr/>
          <a:lstStyle>
            <a:lvl1pPr algn="r">
              <a:lnSpc>
                <a:spcPct val="100000"/>
              </a:lnSpc>
              <a:defRPr sz="3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650154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G4 Pictures with headings">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318250" y="733426"/>
            <a:ext cx="2425699" cy="1495424"/>
          </a:xfrm>
        </p:spPr>
        <p:txBody>
          <a:bodyPr/>
          <a:lstStyle>
            <a:lvl1pPr algn="r">
              <a:lnSpc>
                <a:spcPct val="100000"/>
              </a:lnSpc>
              <a:defRPr sz="3600">
                <a:solidFill>
                  <a:schemeClr val="bg1"/>
                </a:solidFill>
              </a:defRPr>
            </a:lvl1pPr>
          </a:lstStyle>
          <a:p>
            <a:r>
              <a:rPr lang="en-US" dirty="0"/>
              <a:t>Click to edit Master title style</a:t>
            </a:r>
          </a:p>
        </p:txBody>
      </p:sp>
      <p:sp>
        <p:nvSpPr>
          <p:cNvPr id="4" name="Picture Placeholder 3"/>
          <p:cNvSpPr>
            <a:spLocks noGrp="1"/>
          </p:cNvSpPr>
          <p:nvPr>
            <p:ph type="pic" sz="quarter" idx="14"/>
          </p:nvPr>
        </p:nvSpPr>
        <p:spPr>
          <a:xfrm>
            <a:off x="2676426" y="-7620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50000"/>
            </a:schemeClr>
          </a:solidFill>
        </p:spPr>
        <p:txBody>
          <a:bodyPr tIns="1296000"/>
          <a:lstStyle>
            <a:lvl1pPr algn="ctr">
              <a:defRPr sz="1100" b="1">
                <a:solidFill>
                  <a:schemeClr val="bg1"/>
                </a:solidFill>
              </a:defRPr>
            </a:lvl1pPr>
          </a:lstStyle>
          <a:p>
            <a:endParaRPr lang="en-US"/>
          </a:p>
        </p:txBody>
      </p:sp>
      <p:sp>
        <p:nvSpPr>
          <p:cNvPr id="10" name="Picture Placeholder 3"/>
          <p:cNvSpPr>
            <a:spLocks noGrp="1"/>
          </p:cNvSpPr>
          <p:nvPr>
            <p:ph type="pic" sz="quarter" idx="15"/>
          </p:nvPr>
        </p:nvSpPr>
        <p:spPr>
          <a:xfrm>
            <a:off x="-44549" y="-7620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65000"/>
            </a:schemeClr>
          </a:solidFill>
        </p:spPr>
        <p:txBody>
          <a:bodyPr tIns="1296000"/>
          <a:lstStyle>
            <a:lvl1pPr algn="ctr">
              <a:defRPr sz="1100" b="1">
                <a:solidFill>
                  <a:schemeClr val="bg1"/>
                </a:solidFill>
              </a:defRPr>
            </a:lvl1pPr>
          </a:lstStyle>
          <a:p>
            <a:endParaRPr lang="en-US"/>
          </a:p>
        </p:txBody>
      </p:sp>
      <p:sp>
        <p:nvSpPr>
          <p:cNvPr id="11" name="Picture Placeholder 3"/>
          <p:cNvSpPr>
            <a:spLocks noGrp="1"/>
          </p:cNvSpPr>
          <p:nvPr>
            <p:ph type="pic" sz="quarter" idx="16"/>
          </p:nvPr>
        </p:nvSpPr>
        <p:spPr>
          <a:xfrm>
            <a:off x="4009926" y="343535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65000"/>
            </a:schemeClr>
          </a:solidFill>
        </p:spPr>
        <p:txBody>
          <a:bodyPr tIns="1296000"/>
          <a:lstStyle>
            <a:lvl1pPr algn="ctr">
              <a:defRPr sz="1100" b="1">
                <a:solidFill>
                  <a:schemeClr val="bg1"/>
                </a:solidFill>
              </a:defRPr>
            </a:lvl1pPr>
          </a:lstStyle>
          <a:p>
            <a:endParaRPr lang="en-US"/>
          </a:p>
        </p:txBody>
      </p:sp>
      <p:sp>
        <p:nvSpPr>
          <p:cNvPr id="12" name="Picture Placeholder 3"/>
          <p:cNvSpPr>
            <a:spLocks noGrp="1"/>
          </p:cNvSpPr>
          <p:nvPr>
            <p:ph type="pic" sz="quarter" idx="17"/>
          </p:nvPr>
        </p:nvSpPr>
        <p:spPr>
          <a:xfrm>
            <a:off x="1282601" y="343535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50000"/>
            </a:schemeClr>
          </a:solidFill>
        </p:spPr>
        <p:txBody>
          <a:bodyPr tIns="1296000"/>
          <a:lstStyle>
            <a:lvl1pPr algn="ctr">
              <a:defRPr sz="1100" b="1">
                <a:solidFill>
                  <a:schemeClr val="bg1"/>
                </a:solidFill>
              </a:defRPr>
            </a:lvl1pPr>
          </a:lstStyle>
          <a:p>
            <a:endParaRPr lang="en-US"/>
          </a:p>
        </p:txBody>
      </p:sp>
    </p:spTree>
    <p:extLst>
      <p:ext uri="{BB962C8B-B14F-4D97-AF65-F5344CB8AC3E}">
        <p14:creationId xmlns:p14="http://schemas.microsoft.com/office/powerpoint/2010/main" val="960793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G4 Divider with image">
    <p:bg>
      <p:bgPr>
        <a:solidFill>
          <a:schemeClr val="bg2"/>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0" hasCustomPrompt="1"/>
          </p:nvPr>
        </p:nvSpPr>
        <p:spPr>
          <a:xfrm>
            <a:off x="5041032" y="-34440"/>
            <a:ext cx="4159250" cy="6934219"/>
          </a:xfrm>
          <a:custGeom>
            <a:avLst/>
            <a:gdLst>
              <a:gd name="connsiteX0" fmla="*/ 0 w 5842000"/>
              <a:gd name="connsiteY0" fmla="*/ 5194314 h 5194314"/>
              <a:gd name="connsiteX1" fmla="*/ 1984540 w 5842000"/>
              <a:gd name="connsiteY1" fmla="*/ 0 h 5194314"/>
              <a:gd name="connsiteX2" fmla="*/ 5842000 w 5842000"/>
              <a:gd name="connsiteY2" fmla="*/ 0 h 5194314"/>
              <a:gd name="connsiteX3" fmla="*/ 3857460 w 5842000"/>
              <a:gd name="connsiteY3" fmla="*/ 5194314 h 5194314"/>
              <a:gd name="connsiteX4" fmla="*/ 0 w 5842000"/>
              <a:gd name="connsiteY4" fmla="*/ 5194314 h 5194314"/>
              <a:gd name="connsiteX0" fmla="*/ 0 w 4159250"/>
              <a:gd name="connsiteY0" fmla="*/ 5194314 h 5194314"/>
              <a:gd name="connsiteX1" fmla="*/ 1984540 w 4159250"/>
              <a:gd name="connsiteY1" fmla="*/ 0 h 5194314"/>
              <a:gd name="connsiteX2" fmla="*/ 4159250 w 4159250"/>
              <a:gd name="connsiteY2" fmla="*/ 0 h 5194314"/>
              <a:gd name="connsiteX3" fmla="*/ 3857460 w 4159250"/>
              <a:gd name="connsiteY3" fmla="*/ 5194314 h 5194314"/>
              <a:gd name="connsiteX4" fmla="*/ 0 w 4159250"/>
              <a:gd name="connsiteY4" fmla="*/ 5194314 h 5194314"/>
              <a:gd name="connsiteX0" fmla="*/ 0 w 4159250"/>
              <a:gd name="connsiteY0" fmla="*/ 5194314 h 5200664"/>
              <a:gd name="connsiteX1" fmla="*/ 1984540 w 4159250"/>
              <a:gd name="connsiteY1" fmla="*/ 0 h 5200664"/>
              <a:gd name="connsiteX2" fmla="*/ 4159250 w 4159250"/>
              <a:gd name="connsiteY2" fmla="*/ 0 h 5200664"/>
              <a:gd name="connsiteX3" fmla="*/ 4130510 w 4159250"/>
              <a:gd name="connsiteY3" fmla="*/ 5200664 h 5200664"/>
              <a:gd name="connsiteX4" fmla="*/ 0 w 4159250"/>
              <a:gd name="connsiteY4" fmla="*/ 5194314 h 5200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9250" h="5200664">
                <a:moveTo>
                  <a:pt x="0" y="5194314"/>
                </a:moveTo>
                <a:lnTo>
                  <a:pt x="1984540" y="0"/>
                </a:lnTo>
                <a:lnTo>
                  <a:pt x="4159250" y="0"/>
                </a:lnTo>
                <a:lnTo>
                  <a:pt x="4130510" y="5200664"/>
                </a:lnTo>
                <a:lnTo>
                  <a:pt x="0" y="5194314"/>
                </a:lnTo>
                <a:close/>
              </a:path>
            </a:pathLst>
          </a:custGeom>
          <a:solidFill>
            <a:schemeClr val="bg1">
              <a:lumMod val="65000"/>
            </a:schemeClr>
          </a:solidFill>
        </p:spPr>
        <p:txBody>
          <a:bodyPr lIns="1368000" tIns="2700000" rIns="180000">
            <a:normAutofit/>
          </a:bodyPr>
          <a:lstStyle>
            <a:lvl1pPr>
              <a:defRPr sz="1200" b="1" baseline="0">
                <a:solidFill>
                  <a:schemeClr val="bg1"/>
                </a:solidFill>
              </a:defRPr>
            </a:lvl1pPr>
          </a:lstStyle>
          <a:p>
            <a:r>
              <a:rPr lang="en-AU" dirty="0"/>
              <a:t>To insert an image click on icon or leave blank</a:t>
            </a:r>
            <a:endParaRPr lang="en-US" dirty="0"/>
          </a:p>
        </p:txBody>
      </p:sp>
      <p:sp>
        <p:nvSpPr>
          <p:cNvPr id="10" name="Title 9"/>
          <p:cNvSpPr>
            <a:spLocks noGrp="1"/>
          </p:cNvSpPr>
          <p:nvPr>
            <p:ph type="title"/>
          </p:nvPr>
        </p:nvSpPr>
        <p:spPr>
          <a:xfrm>
            <a:off x="600079" y="2226733"/>
            <a:ext cx="5292723" cy="3005667"/>
          </a:xfrm>
        </p:spPr>
        <p:txBody>
          <a:bodyPr anchor="t">
            <a:noAutofit/>
          </a:bodyPr>
          <a:lstStyle>
            <a:lvl1pPr>
              <a:lnSpc>
                <a:spcPts val="3600"/>
              </a:lnSpc>
              <a:defRPr sz="3600">
                <a:solidFill>
                  <a:schemeClr val="bg1"/>
                </a:solidFill>
              </a:defRPr>
            </a:lvl1pPr>
          </a:lstStyle>
          <a:p>
            <a:r>
              <a:rPr lang="en-US" dirty="0"/>
              <a:t>Click to edit Master title style</a:t>
            </a:r>
          </a:p>
        </p:txBody>
      </p:sp>
      <p:sp>
        <p:nvSpPr>
          <p:cNvPr id="5" name="Parallelogram 4"/>
          <p:cNvSpPr/>
          <p:nvPr userDrawn="1"/>
        </p:nvSpPr>
        <p:spPr>
          <a:xfrm>
            <a:off x="593726"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743127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G5 Divider with image">
    <p:bg>
      <p:bgPr>
        <a:solidFill>
          <a:schemeClr val="bg2"/>
        </a:solidFill>
        <a:effectLst/>
      </p:bgPr>
    </p:bg>
    <p:spTree>
      <p:nvGrpSpPr>
        <p:cNvPr id="1" name=""/>
        <p:cNvGrpSpPr/>
        <p:nvPr/>
      </p:nvGrpSpPr>
      <p:grpSpPr>
        <a:xfrm>
          <a:off x="0" y="0"/>
          <a:ext cx="0" cy="0"/>
          <a:chOff x="0" y="0"/>
          <a:chExt cx="0" cy="0"/>
        </a:xfrm>
      </p:grpSpPr>
      <p:sp>
        <p:nvSpPr>
          <p:cNvPr id="5" name="Parallelogram 4"/>
          <p:cNvSpPr/>
          <p:nvPr userDrawn="1"/>
        </p:nvSpPr>
        <p:spPr>
          <a:xfrm>
            <a:off x="593726"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Picture Placeholder 3"/>
          <p:cNvSpPr>
            <a:spLocks noGrp="1"/>
          </p:cNvSpPr>
          <p:nvPr>
            <p:ph type="pic" sz="quarter" idx="10"/>
          </p:nvPr>
        </p:nvSpPr>
        <p:spPr>
          <a:xfrm>
            <a:off x="3770313" y="-84138"/>
            <a:ext cx="5449887" cy="7018021"/>
          </a:xfrm>
          <a:custGeom>
            <a:avLst/>
            <a:gdLst>
              <a:gd name="connsiteX0" fmla="*/ 0 w 5449887"/>
              <a:gd name="connsiteY0" fmla="*/ 0 h 7010401"/>
              <a:gd name="connsiteX1" fmla="*/ 5449887 w 5449887"/>
              <a:gd name="connsiteY1" fmla="*/ 0 h 7010401"/>
              <a:gd name="connsiteX2" fmla="*/ 5449887 w 5449887"/>
              <a:gd name="connsiteY2" fmla="*/ 7010401 h 7010401"/>
              <a:gd name="connsiteX3" fmla="*/ 0 w 5449887"/>
              <a:gd name="connsiteY3" fmla="*/ 7010401 h 7010401"/>
              <a:gd name="connsiteX4" fmla="*/ 0 w 5449887"/>
              <a:gd name="connsiteY4" fmla="*/ 0 h 7010401"/>
              <a:gd name="connsiteX0" fmla="*/ 0 w 5449887"/>
              <a:gd name="connsiteY0" fmla="*/ 0 h 7018021"/>
              <a:gd name="connsiteX1" fmla="*/ 5449887 w 5449887"/>
              <a:gd name="connsiteY1" fmla="*/ 0 h 7018021"/>
              <a:gd name="connsiteX2" fmla="*/ 5449887 w 5449887"/>
              <a:gd name="connsiteY2" fmla="*/ 7010401 h 7018021"/>
              <a:gd name="connsiteX3" fmla="*/ 2659380 w 5449887"/>
              <a:gd name="connsiteY3" fmla="*/ 7018021 h 7018021"/>
              <a:gd name="connsiteX4" fmla="*/ 0 w 5449887"/>
              <a:gd name="connsiteY4" fmla="*/ 0 h 7018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9887" h="7018021">
                <a:moveTo>
                  <a:pt x="0" y="0"/>
                </a:moveTo>
                <a:lnTo>
                  <a:pt x="5449887" y="0"/>
                </a:lnTo>
                <a:lnTo>
                  <a:pt x="5449887" y="7010401"/>
                </a:lnTo>
                <a:lnTo>
                  <a:pt x="2659380" y="7018021"/>
                </a:lnTo>
                <a:lnTo>
                  <a:pt x="0" y="0"/>
                </a:lnTo>
                <a:close/>
              </a:path>
            </a:pathLst>
          </a:custGeom>
          <a:solidFill>
            <a:schemeClr val="bg1">
              <a:lumMod val="65000"/>
            </a:schemeClr>
          </a:solidFill>
        </p:spPr>
        <p:txBody>
          <a:bodyPr lIns="2556000" tIns="3780000"/>
          <a:lstStyle>
            <a:lvl1pPr>
              <a:defRPr sz="1400" b="1">
                <a:solidFill>
                  <a:schemeClr val="bg1"/>
                </a:solidFill>
              </a:defRPr>
            </a:lvl1pPr>
          </a:lstStyle>
          <a:p>
            <a:endParaRPr lang="en-US"/>
          </a:p>
        </p:txBody>
      </p:sp>
      <p:sp>
        <p:nvSpPr>
          <p:cNvPr id="3" name="Text Placeholder 2"/>
          <p:cNvSpPr>
            <a:spLocks noGrp="1"/>
          </p:cNvSpPr>
          <p:nvPr>
            <p:ph type="body" sz="quarter" idx="11"/>
          </p:nvPr>
        </p:nvSpPr>
        <p:spPr>
          <a:xfrm>
            <a:off x="593726" y="2600325"/>
            <a:ext cx="3759199" cy="2524126"/>
          </a:xfrm>
        </p:spPr>
        <p:txBody>
          <a:bodyPr/>
          <a:lstStyle>
            <a:lvl1pPr>
              <a:defRPr sz="3600">
                <a:solidFill>
                  <a:schemeClr val="bg1"/>
                </a:solidFill>
                <a:latin typeface="Segoe UI Light" panose="020B0502040204020203" pitchFamily="34" charset="0"/>
              </a:defRPr>
            </a:lvl1pPr>
            <a:lvl2pPr>
              <a:defRPr sz="3600">
                <a:latin typeface="Segoe UI Light" panose="020B0502040204020203" pitchFamily="34" charset="0"/>
              </a:defRPr>
            </a:lvl2pPr>
            <a:lvl3pPr>
              <a:defRPr sz="3600">
                <a:latin typeface="Segoe UI Light" panose="020B0502040204020203" pitchFamily="34" charset="0"/>
              </a:defRPr>
            </a:lvl3pPr>
            <a:lvl4pPr>
              <a:defRPr sz="3600">
                <a:latin typeface="Segoe UI Light" panose="020B0502040204020203" pitchFamily="34" charset="0"/>
              </a:defRPr>
            </a:lvl4pPr>
            <a:lvl5pPr>
              <a:defRPr sz="3600">
                <a:latin typeface="Segoe UI Light" panose="020B0502040204020203" pitchFamily="34" charset="0"/>
              </a:defRPr>
            </a:lvl5pPr>
          </a:lstStyle>
          <a:p>
            <a:pPr lvl="0"/>
            <a:r>
              <a:rPr lang="en-US" dirty="0"/>
              <a:t>Click to edit Master text styles</a:t>
            </a:r>
          </a:p>
        </p:txBody>
      </p:sp>
    </p:spTree>
    <p:extLst>
      <p:ext uri="{BB962C8B-B14F-4D97-AF65-F5344CB8AC3E}">
        <p14:creationId xmlns:p14="http://schemas.microsoft.com/office/powerpoint/2010/main" val="3800742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AG6 Divider with image">
    <p:bg>
      <p:bgPr>
        <a:solidFill>
          <a:schemeClr val="bg2"/>
        </a:solidFill>
        <a:effectLst/>
      </p:bgPr>
    </p:bg>
    <p:spTree>
      <p:nvGrpSpPr>
        <p:cNvPr id="1" name=""/>
        <p:cNvGrpSpPr/>
        <p:nvPr/>
      </p:nvGrpSpPr>
      <p:grpSpPr>
        <a:xfrm>
          <a:off x="0" y="0"/>
          <a:ext cx="0" cy="0"/>
          <a:chOff x="0" y="0"/>
          <a:chExt cx="0" cy="0"/>
        </a:xfrm>
      </p:grpSpPr>
      <p:sp>
        <p:nvSpPr>
          <p:cNvPr id="5" name="Parallelogram 4"/>
          <p:cNvSpPr/>
          <p:nvPr userDrawn="1"/>
        </p:nvSpPr>
        <p:spPr>
          <a:xfrm>
            <a:off x="4927601"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sp>
        <p:nvSpPr>
          <p:cNvPr id="3" name="Text Placeholder 2"/>
          <p:cNvSpPr>
            <a:spLocks noGrp="1"/>
          </p:cNvSpPr>
          <p:nvPr>
            <p:ph type="body" sz="quarter" idx="11"/>
          </p:nvPr>
        </p:nvSpPr>
        <p:spPr>
          <a:xfrm>
            <a:off x="4927601" y="2600325"/>
            <a:ext cx="3759199" cy="2524126"/>
          </a:xfrm>
        </p:spPr>
        <p:txBody>
          <a:bodyPr/>
          <a:lstStyle>
            <a:lvl1pPr>
              <a:defRPr sz="3600">
                <a:solidFill>
                  <a:schemeClr val="bg1"/>
                </a:solidFill>
                <a:latin typeface="Segoe UI Light" panose="020B0502040204020203" pitchFamily="34" charset="0"/>
              </a:defRPr>
            </a:lvl1pPr>
            <a:lvl2pPr>
              <a:defRPr sz="3600">
                <a:latin typeface="Segoe UI Light" panose="020B0502040204020203" pitchFamily="34" charset="0"/>
              </a:defRPr>
            </a:lvl2pPr>
            <a:lvl3pPr>
              <a:defRPr sz="3600">
                <a:latin typeface="Segoe UI Light" panose="020B0502040204020203" pitchFamily="34" charset="0"/>
              </a:defRPr>
            </a:lvl3pPr>
            <a:lvl4pPr>
              <a:defRPr sz="3600">
                <a:latin typeface="Segoe UI Light" panose="020B0502040204020203" pitchFamily="34" charset="0"/>
              </a:defRPr>
            </a:lvl4pPr>
            <a:lvl5pPr>
              <a:defRPr sz="3600">
                <a:latin typeface="Segoe UI Light" panose="020B0502040204020203" pitchFamily="34" charset="0"/>
              </a:defRPr>
            </a:lvl5pPr>
          </a:lstStyle>
          <a:p>
            <a:pPr lvl="0"/>
            <a:r>
              <a:rPr lang="en-US" dirty="0"/>
              <a:t>Click to edit Master text styles</a:t>
            </a:r>
          </a:p>
        </p:txBody>
      </p:sp>
      <p:sp>
        <p:nvSpPr>
          <p:cNvPr id="6" name="Picture Placeholder 5"/>
          <p:cNvSpPr>
            <a:spLocks noGrp="1"/>
          </p:cNvSpPr>
          <p:nvPr>
            <p:ph type="pic" sz="quarter" idx="12"/>
          </p:nvPr>
        </p:nvSpPr>
        <p:spPr>
          <a:xfrm>
            <a:off x="-73025" y="-57151"/>
            <a:ext cx="5575300" cy="6988317"/>
          </a:xfrm>
          <a:custGeom>
            <a:avLst/>
            <a:gdLst>
              <a:gd name="connsiteX0" fmla="*/ 0 w 3441700"/>
              <a:gd name="connsiteY0" fmla="*/ 0 h 6940692"/>
              <a:gd name="connsiteX1" fmla="*/ 3441700 w 3441700"/>
              <a:gd name="connsiteY1" fmla="*/ 0 h 6940692"/>
              <a:gd name="connsiteX2" fmla="*/ 3441700 w 3441700"/>
              <a:gd name="connsiteY2" fmla="*/ 6940692 h 6940692"/>
              <a:gd name="connsiteX3" fmla="*/ 0 w 3441700"/>
              <a:gd name="connsiteY3" fmla="*/ 6940692 h 6940692"/>
              <a:gd name="connsiteX4" fmla="*/ 0 w 3441700"/>
              <a:gd name="connsiteY4" fmla="*/ 0 h 6940692"/>
              <a:gd name="connsiteX0" fmla="*/ 0 w 3441700"/>
              <a:gd name="connsiteY0" fmla="*/ 6349 h 6947041"/>
              <a:gd name="connsiteX1" fmla="*/ 831850 w 3441700"/>
              <a:gd name="connsiteY1" fmla="*/ 0 h 6947041"/>
              <a:gd name="connsiteX2" fmla="*/ 3441700 w 3441700"/>
              <a:gd name="connsiteY2" fmla="*/ 6349 h 6947041"/>
              <a:gd name="connsiteX3" fmla="*/ 3441700 w 3441700"/>
              <a:gd name="connsiteY3" fmla="*/ 6947041 h 6947041"/>
              <a:gd name="connsiteX4" fmla="*/ 0 w 3441700"/>
              <a:gd name="connsiteY4" fmla="*/ 6947041 h 6947041"/>
              <a:gd name="connsiteX5" fmla="*/ 0 w 3441700"/>
              <a:gd name="connsiteY5" fmla="*/ 6349 h 6947041"/>
              <a:gd name="connsiteX0" fmla="*/ 0 w 3441700"/>
              <a:gd name="connsiteY0" fmla="*/ 6349 h 6947041"/>
              <a:gd name="connsiteX1" fmla="*/ 831850 w 3441700"/>
              <a:gd name="connsiteY1" fmla="*/ 0 h 6947041"/>
              <a:gd name="connsiteX2" fmla="*/ 3441700 w 3441700"/>
              <a:gd name="connsiteY2" fmla="*/ 6947041 h 6947041"/>
              <a:gd name="connsiteX3" fmla="*/ 0 w 3441700"/>
              <a:gd name="connsiteY3" fmla="*/ 6947041 h 6947041"/>
              <a:gd name="connsiteX4" fmla="*/ 0 w 3441700"/>
              <a:gd name="connsiteY4" fmla="*/ 6349 h 6947041"/>
              <a:gd name="connsiteX0" fmla="*/ 0 w 3441700"/>
              <a:gd name="connsiteY0" fmla="*/ 6349 h 6947041"/>
              <a:gd name="connsiteX1" fmla="*/ 806450 w 3441700"/>
              <a:gd name="connsiteY1" fmla="*/ 0 h 6947041"/>
              <a:gd name="connsiteX2" fmla="*/ 3441700 w 3441700"/>
              <a:gd name="connsiteY2" fmla="*/ 6947041 h 6947041"/>
              <a:gd name="connsiteX3" fmla="*/ 0 w 3441700"/>
              <a:gd name="connsiteY3" fmla="*/ 6947041 h 6947041"/>
              <a:gd name="connsiteX4" fmla="*/ 0 w 3441700"/>
              <a:gd name="connsiteY4" fmla="*/ 6349 h 6947041"/>
              <a:gd name="connsiteX0" fmla="*/ 0 w 3441700"/>
              <a:gd name="connsiteY0" fmla="*/ 0 h 6940692"/>
              <a:gd name="connsiteX1" fmla="*/ 819150 w 3441700"/>
              <a:gd name="connsiteY1" fmla="*/ 1 h 6940692"/>
              <a:gd name="connsiteX2" fmla="*/ 3441700 w 3441700"/>
              <a:gd name="connsiteY2" fmla="*/ 6940692 h 6940692"/>
              <a:gd name="connsiteX3" fmla="*/ 0 w 3441700"/>
              <a:gd name="connsiteY3" fmla="*/ 6940692 h 6940692"/>
              <a:gd name="connsiteX4" fmla="*/ 0 w 3441700"/>
              <a:gd name="connsiteY4" fmla="*/ 0 h 6940692"/>
              <a:gd name="connsiteX0" fmla="*/ 0 w 5575300"/>
              <a:gd name="connsiteY0" fmla="*/ 0 h 6959742"/>
              <a:gd name="connsiteX1" fmla="*/ 2952750 w 5575300"/>
              <a:gd name="connsiteY1" fmla="*/ 19051 h 6959742"/>
              <a:gd name="connsiteX2" fmla="*/ 5575300 w 5575300"/>
              <a:gd name="connsiteY2" fmla="*/ 6959742 h 6959742"/>
              <a:gd name="connsiteX3" fmla="*/ 2133600 w 5575300"/>
              <a:gd name="connsiteY3" fmla="*/ 6959742 h 6959742"/>
              <a:gd name="connsiteX4" fmla="*/ 0 w 5575300"/>
              <a:gd name="connsiteY4" fmla="*/ 0 h 6959742"/>
              <a:gd name="connsiteX0" fmla="*/ 0 w 5575300"/>
              <a:gd name="connsiteY0" fmla="*/ 0 h 6988317"/>
              <a:gd name="connsiteX1" fmla="*/ 2952750 w 5575300"/>
              <a:gd name="connsiteY1" fmla="*/ 19051 h 6988317"/>
              <a:gd name="connsiteX2" fmla="*/ 5575300 w 5575300"/>
              <a:gd name="connsiteY2" fmla="*/ 6959742 h 6988317"/>
              <a:gd name="connsiteX3" fmla="*/ 0 w 5575300"/>
              <a:gd name="connsiteY3" fmla="*/ 6988317 h 6988317"/>
              <a:gd name="connsiteX4" fmla="*/ 0 w 5575300"/>
              <a:gd name="connsiteY4" fmla="*/ 0 h 6988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5300" h="6988317">
                <a:moveTo>
                  <a:pt x="0" y="0"/>
                </a:moveTo>
                <a:lnTo>
                  <a:pt x="2952750" y="19051"/>
                </a:lnTo>
                <a:lnTo>
                  <a:pt x="5575300" y="6959742"/>
                </a:lnTo>
                <a:lnTo>
                  <a:pt x="0" y="6988317"/>
                </a:lnTo>
                <a:lnTo>
                  <a:pt x="0" y="0"/>
                </a:lnTo>
                <a:close/>
              </a:path>
            </a:pathLst>
          </a:custGeom>
          <a:solidFill>
            <a:schemeClr val="bg1">
              <a:lumMod val="65000"/>
            </a:schemeClr>
          </a:solidFill>
        </p:spPr>
        <p:txBody>
          <a:bodyPr lIns="216000" tIns="3060000"/>
          <a:lstStyle>
            <a:lvl1pPr algn="ctr">
              <a:defRPr sz="1400" b="1">
                <a:solidFill>
                  <a:schemeClr val="bg1"/>
                </a:solidFill>
              </a:defRPr>
            </a:lvl1pPr>
          </a:lstStyle>
          <a:p>
            <a:endParaRPr lang="en-US"/>
          </a:p>
        </p:txBody>
      </p:sp>
    </p:spTree>
    <p:extLst>
      <p:ext uri="{BB962C8B-B14F-4D97-AF65-F5344CB8AC3E}">
        <p14:creationId xmlns:p14="http://schemas.microsoft.com/office/powerpoint/2010/main" val="1562459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7  Divider no image">
    <p:bg>
      <p:bgPr>
        <a:solidFill>
          <a:schemeClr val="bg2"/>
        </a:solid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600079" y="2226733"/>
            <a:ext cx="7896221" cy="3005667"/>
          </a:xfrm>
        </p:spPr>
        <p:txBody>
          <a:bodyPr anchor="t">
            <a:noAutofit/>
          </a:bodyPr>
          <a:lstStyle>
            <a:lvl1pPr>
              <a:lnSpc>
                <a:spcPts val="3600"/>
              </a:lnSpc>
              <a:defRPr sz="3600">
                <a:solidFill>
                  <a:schemeClr val="bg1"/>
                </a:solidFill>
              </a:defRPr>
            </a:lvl1pPr>
          </a:lstStyle>
          <a:p>
            <a:r>
              <a:rPr lang="en-US" dirty="0"/>
              <a:t>Click to edit Master title style</a:t>
            </a:r>
          </a:p>
        </p:txBody>
      </p:sp>
      <p:sp>
        <p:nvSpPr>
          <p:cNvPr id="5" name="Parallelogram 4"/>
          <p:cNvSpPr/>
          <p:nvPr userDrawn="1"/>
        </p:nvSpPr>
        <p:spPr>
          <a:xfrm>
            <a:off x="593726"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1925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G8 Divider with image">
    <p:bg>
      <p:bgPr>
        <a:solidFill>
          <a:schemeClr val="bg2"/>
        </a:solid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3943354" y="2226733"/>
            <a:ext cx="4600571" cy="3005667"/>
          </a:xfrm>
        </p:spPr>
        <p:txBody>
          <a:bodyPr anchor="t">
            <a:noAutofit/>
          </a:bodyPr>
          <a:lstStyle>
            <a:lvl1pPr>
              <a:lnSpc>
                <a:spcPts val="3600"/>
              </a:lnSpc>
              <a:defRPr sz="3600">
                <a:solidFill>
                  <a:schemeClr val="bg1"/>
                </a:solidFill>
              </a:defRPr>
            </a:lvl1pPr>
          </a:lstStyle>
          <a:p>
            <a:r>
              <a:rPr lang="en-US" dirty="0"/>
              <a:t>Click to edit Master title style</a:t>
            </a:r>
          </a:p>
        </p:txBody>
      </p:sp>
      <p:sp>
        <p:nvSpPr>
          <p:cNvPr id="5" name="Parallelogram 4"/>
          <p:cNvSpPr/>
          <p:nvPr userDrawn="1"/>
        </p:nvSpPr>
        <p:spPr>
          <a:xfrm>
            <a:off x="3937001"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Picture Placeholder 14"/>
          <p:cNvSpPr>
            <a:spLocks noGrp="1"/>
          </p:cNvSpPr>
          <p:nvPr>
            <p:ph type="pic" sz="quarter" idx="12"/>
          </p:nvPr>
        </p:nvSpPr>
        <p:spPr>
          <a:xfrm>
            <a:off x="-74915" y="-76200"/>
            <a:ext cx="4618340" cy="6977874"/>
          </a:xfrm>
          <a:custGeom>
            <a:avLst/>
            <a:gdLst>
              <a:gd name="connsiteX0" fmla="*/ 0 w 4618144"/>
              <a:gd name="connsiteY0" fmla="*/ 0 h 6965950"/>
              <a:gd name="connsiteX1" fmla="*/ 4618144 w 4618144"/>
              <a:gd name="connsiteY1" fmla="*/ 0 h 6965950"/>
              <a:gd name="connsiteX2" fmla="*/ 4618144 w 4618144"/>
              <a:gd name="connsiteY2" fmla="*/ 6965950 h 6965950"/>
              <a:gd name="connsiteX3" fmla="*/ 0 w 4618144"/>
              <a:gd name="connsiteY3" fmla="*/ 6965950 h 6965950"/>
              <a:gd name="connsiteX4" fmla="*/ 0 w 4618144"/>
              <a:gd name="connsiteY4" fmla="*/ 0 h 6965950"/>
              <a:gd name="connsiteX0" fmla="*/ 0 w 4618144"/>
              <a:gd name="connsiteY0" fmla="*/ 6350 h 6972300"/>
              <a:gd name="connsiteX1" fmla="*/ 1954319 w 4618144"/>
              <a:gd name="connsiteY1" fmla="*/ 0 h 6972300"/>
              <a:gd name="connsiteX2" fmla="*/ 4618144 w 4618144"/>
              <a:gd name="connsiteY2" fmla="*/ 6350 h 6972300"/>
              <a:gd name="connsiteX3" fmla="*/ 4618144 w 4618144"/>
              <a:gd name="connsiteY3" fmla="*/ 6972300 h 6972300"/>
              <a:gd name="connsiteX4" fmla="*/ 0 w 4618144"/>
              <a:gd name="connsiteY4" fmla="*/ 6972300 h 6972300"/>
              <a:gd name="connsiteX5" fmla="*/ 0 w 4618144"/>
              <a:gd name="connsiteY5" fmla="*/ 6350 h 6972300"/>
              <a:gd name="connsiteX0" fmla="*/ 0 w 4618144"/>
              <a:gd name="connsiteY0" fmla="*/ 6350 h 6972300"/>
              <a:gd name="connsiteX1" fmla="*/ 716069 w 4618144"/>
              <a:gd name="connsiteY1" fmla="*/ 0 h 6972300"/>
              <a:gd name="connsiteX2" fmla="*/ 1954319 w 4618144"/>
              <a:gd name="connsiteY2" fmla="*/ 0 h 6972300"/>
              <a:gd name="connsiteX3" fmla="*/ 4618144 w 4618144"/>
              <a:gd name="connsiteY3" fmla="*/ 6350 h 6972300"/>
              <a:gd name="connsiteX4" fmla="*/ 4618144 w 4618144"/>
              <a:gd name="connsiteY4" fmla="*/ 6972300 h 6972300"/>
              <a:gd name="connsiteX5" fmla="*/ 0 w 4618144"/>
              <a:gd name="connsiteY5" fmla="*/ 6972300 h 6972300"/>
              <a:gd name="connsiteX6" fmla="*/ 0 w 4618144"/>
              <a:gd name="connsiteY6" fmla="*/ 6350 h 6972300"/>
              <a:gd name="connsiteX0" fmla="*/ 0 w 4618144"/>
              <a:gd name="connsiteY0" fmla="*/ 6350 h 6972300"/>
              <a:gd name="connsiteX1" fmla="*/ 620819 w 4618144"/>
              <a:gd name="connsiteY1" fmla="*/ 0 h 6972300"/>
              <a:gd name="connsiteX2" fmla="*/ 716069 w 4618144"/>
              <a:gd name="connsiteY2" fmla="*/ 0 h 6972300"/>
              <a:gd name="connsiteX3" fmla="*/ 1954319 w 4618144"/>
              <a:gd name="connsiteY3" fmla="*/ 0 h 6972300"/>
              <a:gd name="connsiteX4" fmla="*/ 4618144 w 4618144"/>
              <a:gd name="connsiteY4" fmla="*/ 6350 h 6972300"/>
              <a:gd name="connsiteX5" fmla="*/ 4618144 w 4618144"/>
              <a:gd name="connsiteY5" fmla="*/ 6972300 h 6972300"/>
              <a:gd name="connsiteX6" fmla="*/ 0 w 4618144"/>
              <a:gd name="connsiteY6" fmla="*/ 6972300 h 6972300"/>
              <a:gd name="connsiteX7" fmla="*/ 0 w 4618144"/>
              <a:gd name="connsiteY7" fmla="*/ 6350 h 6972300"/>
              <a:gd name="connsiteX0" fmla="*/ 7831 w 4625975"/>
              <a:gd name="connsiteY0" fmla="*/ 6350 h 6972300"/>
              <a:gd name="connsiteX1" fmla="*/ 628650 w 4625975"/>
              <a:gd name="connsiteY1" fmla="*/ 0 h 6972300"/>
              <a:gd name="connsiteX2" fmla="*/ 723900 w 4625975"/>
              <a:gd name="connsiteY2" fmla="*/ 0 h 6972300"/>
              <a:gd name="connsiteX3" fmla="*/ 1962150 w 4625975"/>
              <a:gd name="connsiteY3" fmla="*/ 0 h 6972300"/>
              <a:gd name="connsiteX4" fmla="*/ 4625975 w 4625975"/>
              <a:gd name="connsiteY4" fmla="*/ 6350 h 6972300"/>
              <a:gd name="connsiteX5" fmla="*/ 4625975 w 4625975"/>
              <a:gd name="connsiteY5" fmla="*/ 6972300 h 6972300"/>
              <a:gd name="connsiteX6" fmla="*/ 7831 w 4625975"/>
              <a:gd name="connsiteY6" fmla="*/ 6972300 h 6972300"/>
              <a:gd name="connsiteX7" fmla="*/ 0 w 4625975"/>
              <a:gd name="connsiteY7" fmla="*/ 1625600 h 6972300"/>
              <a:gd name="connsiteX8" fmla="*/ 7831 w 4625975"/>
              <a:gd name="connsiteY8"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46555 w 4964699"/>
              <a:gd name="connsiteY6" fmla="*/ 6972300 h 6972300"/>
              <a:gd name="connsiteX7" fmla="*/ 332375 w 4964699"/>
              <a:gd name="connsiteY7" fmla="*/ 1841500 h 6972300"/>
              <a:gd name="connsiteX8" fmla="*/ 338724 w 4964699"/>
              <a:gd name="connsiteY8" fmla="*/ 1625600 h 6972300"/>
              <a:gd name="connsiteX9" fmla="*/ 346555 w 4964699"/>
              <a:gd name="connsiteY9"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2288175 w 4964699"/>
              <a:gd name="connsiteY6" fmla="*/ 6965950 h 6972300"/>
              <a:gd name="connsiteX7" fmla="*/ 346555 w 4964699"/>
              <a:gd name="connsiteY7" fmla="*/ 6972300 h 6972300"/>
              <a:gd name="connsiteX8" fmla="*/ 332375 w 4964699"/>
              <a:gd name="connsiteY8" fmla="*/ 1841500 h 6972300"/>
              <a:gd name="connsiteX9" fmla="*/ 338724 w 4964699"/>
              <a:gd name="connsiteY9" fmla="*/ 1625600 h 6972300"/>
              <a:gd name="connsiteX10" fmla="*/ 346555 w 4964699"/>
              <a:gd name="connsiteY10"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2389775 w 4964699"/>
              <a:gd name="connsiteY6" fmla="*/ 6959600 h 6972300"/>
              <a:gd name="connsiteX7" fmla="*/ 2288175 w 4964699"/>
              <a:gd name="connsiteY7" fmla="*/ 6965950 h 6972300"/>
              <a:gd name="connsiteX8" fmla="*/ 346555 w 4964699"/>
              <a:gd name="connsiteY8" fmla="*/ 6972300 h 6972300"/>
              <a:gd name="connsiteX9" fmla="*/ 332375 w 4964699"/>
              <a:gd name="connsiteY9" fmla="*/ 1841500 h 6972300"/>
              <a:gd name="connsiteX10" fmla="*/ 338724 w 4964699"/>
              <a:gd name="connsiteY10" fmla="*/ 1625600 h 6972300"/>
              <a:gd name="connsiteX11" fmla="*/ 346555 w 4964699"/>
              <a:gd name="connsiteY11"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615325 w 4964699"/>
              <a:gd name="connsiteY6" fmla="*/ 6959600 h 6972300"/>
              <a:gd name="connsiteX7" fmla="*/ 2389775 w 4964699"/>
              <a:gd name="connsiteY7" fmla="*/ 6959600 h 6972300"/>
              <a:gd name="connsiteX8" fmla="*/ 2288175 w 4964699"/>
              <a:gd name="connsiteY8" fmla="*/ 6965950 h 6972300"/>
              <a:gd name="connsiteX9" fmla="*/ 346555 w 4964699"/>
              <a:gd name="connsiteY9" fmla="*/ 6972300 h 6972300"/>
              <a:gd name="connsiteX10" fmla="*/ 332375 w 4964699"/>
              <a:gd name="connsiteY10" fmla="*/ 1841500 h 6972300"/>
              <a:gd name="connsiteX11" fmla="*/ 338724 w 4964699"/>
              <a:gd name="connsiteY11" fmla="*/ 1625600 h 6972300"/>
              <a:gd name="connsiteX12" fmla="*/ 346555 w 4964699"/>
              <a:gd name="connsiteY12"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704225 w 4964699"/>
              <a:gd name="connsiteY6" fmla="*/ 6959600 h 6972300"/>
              <a:gd name="connsiteX7" fmla="*/ 3615325 w 4964699"/>
              <a:gd name="connsiteY7" fmla="*/ 6959600 h 6972300"/>
              <a:gd name="connsiteX8" fmla="*/ 2389775 w 4964699"/>
              <a:gd name="connsiteY8" fmla="*/ 6959600 h 6972300"/>
              <a:gd name="connsiteX9" fmla="*/ 2288175 w 4964699"/>
              <a:gd name="connsiteY9" fmla="*/ 6965950 h 6972300"/>
              <a:gd name="connsiteX10" fmla="*/ 346555 w 4964699"/>
              <a:gd name="connsiteY10" fmla="*/ 6972300 h 6972300"/>
              <a:gd name="connsiteX11" fmla="*/ 332375 w 4964699"/>
              <a:gd name="connsiteY11" fmla="*/ 1841500 h 6972300"/>
              <a:gd name="connsiteX12" fmla="*/ 338724 w 4964699"/>
              <a:gd name="connsiteY12" fmla="*/ 1625600 h 6972300"/>
              <a:gd name="connsiteX13" fmla="*/ 346555 w 4964699"/>
              <a:gd name="connsiteY13" fmla="*/ 6350 h 6972300"/>
              <a:gd name="connsiteX0" fmla="*/ 346555 w 4964699"/>
              <a:gd name="connsiteY0" fmla="*/ 11113 h 6977063"/>
              <a:gd name="connsiteX1" fmla="*/ 967374 w 4964699"/>
              <a:gd name="connsiteY1" fmla="*/ 4763 h 6977063"/>
              <a:gd name="connsiteX2" fmla="*/ 1026113 w 4964699"/>
              <a:gd name="connsiteY2" fmla="*/ 0 h 6977063"/>
              <a:gd name="connsiteX3" fmla="*/ 1062624 w 4964699"/>
              <a:gd name="connsiteY3" fmla="*/ 4763 h 6977063"/>
              <a:gd name="connsiteX4" fmla="*/ 2300874 w 4964699"/>
              <a:gd name="connsiteY4" fmla="*/ 4763 h 6977063"/>
              <a:gd name="connsiteX5" fmla="*/ 4964699 w 4964699"/>
              <a:gd name="connsiteY5" fmla="*/ 11113 h 6977063"/>
              <a:gd name="connsiteX6" fmla="*/ 4964699 w 4964699"/>
              <a:gd name="connsiteY6" fmla="*/ 6977063 h 6977063"/>
              <a:gd name="connsiteX7" fmla="*/ 3704225 w 4964699"/>
              <a:gd name="connsiteY7" fmla="*/ 6964363 h 6977063"/>
              <a:gd name="connsiteX8" fmla="*/ 3615325 w 4964699"/>
              <a:gd name="connsiteY8" fmla="*/ 6964363 h 6977063"/>
              <a:gd name="connsiteX9" fmla="*/ 2389775 w 4964699"/>
              <a:gd name="connsiteY9" fmla="*/ 6964363 h 6977063"/>
              <a:gd name="connsiteX10" fmla="*/ 2288175 w 4964699"/>
              <a:gd name="connsiteY10" fmla="*/ 6970713 h 6977063"/>
              <a:gd name="connsiteX11" fmla="*/ 346555 w 4964699"/>
              <a:gd name="connsiteY11" fmla="*/ 6977063 h 6977063"/>
              <a:gd name="connsiteX12" fmla="*/ 332375 w 4964699"/>
              <a:gd name="connsiteY12" fmla="*/ 1846263 h 6977063"/>
              <a:gd name="connsiteX13" fmla="*/ 338724 w 4964699"/>
              <a:gd name="connsiteY13" fmla="*/ 1630363 h 6977063"/>
              <a:gd name="connsiteX14" fmla="*/ 346555 w 4964699"/>
              <a:gd name="connsiteY14" fmla="*/ 11113 h 6977063"/>
              <a:gd name="connsiteX0" fmla="*/ 346555 w 4964699"/>
              <a:gd name="connsiteY0" fmla="*/ 6350 h 6972300"/>
              <a:gd name="connsiteX1" fmla="*/ 967374 w 4964699"/>
              <a:gd name="connsiteY1" fmla="*/ 0 h 6972300"/>
              <a:gd name="connsiteX2" fmla="*/ 2526300 w 4964699"/>
              <a:gd name="connsiteY2" fmla="*/ 3881437 h 6972300"/>
              <a:gd name="connsiteX3" fmla="*/ 1062624 w 4964699"/>
              <a:gd name="connsiteY3" fmla="*/ 0 h 6972300"/>
              <a:gd name="connsiteX4" fmla="*/ 2300874 w 4964699"/>
              <a:gd name="connsiteY4" fmla="*/ 0 h 6972300"/>
              <a:gd name="connsiteX5" fmla="*/ 4964699 w 4964699"/>
              <a:gd name="connsiteY5" fmla="*/ 6350 h 6972300"/>
              <a:gd name="connsiteX6" fmla="*/ 4964699 w 4964699"/>
              <a:gd name="connsiteY6" fmla="*/ 6972300 h 6972300"/>
              <a:gd name="connsiteX7" fmla="*/ 3704225 w 4964699"/>
              <a:gd name="connsiteY7" fmla="*/ 6959600 h 6972300"/>
              <a:gd name="connsiteX8" fmla="*/ 3615325 w 4964699"/>
              <a:gd name="connsiteY8" fmla="*/ 6959600 h 6972300"/>
              <a:gd name="connsiteX9" fmla="*/ 2389775 w 4964699"/>
              <a:gd name="connsiteY9" fmla="*/ 6959600 h 6972300"/>
              <a:gd name="connsiteX10" fmla="*/ 2288175 w 4964699"/>
              <a:gd name="connsiteY10" fmla="*/ 6965950 h 6972300"/>
              <a:gd name="connsiteX11" fmla="*/ 346555 w 4964699"/>
              <a:gd name="connsiteY11" fmla="*/ 6972300 h 6972300"/>
              <a:gd name="connsiteX12" fmla="*/ 332375 w 4964699"/>
              <a:gd name="connsiteY12" fmla="*/ 1841500 h 6972300"/>
              <a:gd name="connsiteX13" fmla="*/ 338724 w 4964699"/>
              <a:gd name="connsiteY13" fmla="*/ 1625600 h 6972300"/>
              <a:gd name="connsiteX14" fmla="*/ 346555 w 4964699"/>
              <a:gd name="connsiteY14" fmla="*/ 6350 h 6972300"/>
              <a:gd name="connsiteX0" fmla="*/ 346555 w 4964699"/>
              <a:gd name="connsiteY0" fmla="*/ 6350 h 6972300"/>
              <a:gd name="connsiteX1" fmla="*/ 967374 w 4964699"/>
              <a:gd name="connsiteY1" fmla="*/ 0 h 6972300"/>
              <a:gd name="connsiteX2" fmla="*/ 3699780 w 4964699"/>
              <a:gd name="connsiteY2" fmla="*/ 6967537 h 6972300"/>
              <a:gd name="connsiteX3" fmla="*/ 1062624 w 4964699"/>
              <a:gd name="connsiteY3" fmla="*/ 0 h 6972300"/>
              <a:gd name="connsiteX4" fmla="*/ 2300874 w 4964699"/>
              <a:gd name="connsiteY4" fmla="*/ 0 h 6972300"/>
              <a:gd name="connsiteX5" fmla="*/ 4964699 w 4964699"/>
              <a:gd name="connsiteY5" fmla="*/ 6350 h 6972300"/>
              <a:gd name="connsiteX6" fmla="*/ 4964699 w 4964699"/>
              <a:gd name="connsiteY6" fmla="*/ 6972300 h 6972300"/>
              <a:gd name="connsiteX7" fmla="*/ 3704225 w 4964699"/>
              <a:gd name="connsiteY7" fmla="*/ 6959600 h 6972300"/>
              <a:gd name="connsiteX8" fmla="*/ 3615325 w 4964699"/>
              <a:gd name="connsiteY8" fmla="*/ 6959600 h 6972300"/>
              <a:gd name="connsiteX9" fmla="*/ 2389775 w 4964699"/>
              <a:gd name="connsiteY9" fmla="*/ 6959600 h 6972300"/>
              <a:gd name="connsiteX10" fmla="*/ 2288175 w 4964699"/>
              <a:gd name="connsiteY10" fmla="*/ 6965950 h 6972300"/>
              <a:gd name="connsiteX11" fmla="*/ 346555 w 4964699"/>
              <a:gd name="connsiteY11" fmla="*/ 6972300 h 6972300"/>
              <a:gd name="connsiteX12" fmla="*/ 332375 w 4964699"/>
              <a:gd name="connsiteY12" fmla="*/ 1841500 h 6972300"/>
              <a:gd name="connsiteX13" fmla="*/ 338724 w 4964699"/>
              <a:gd name="connsiteY13" fmla="*/ 1625600 h 6972300"/>
              <a:gd name="connsiteX14" fmla="*/ 346555 w 4964699"/>
              <a:gd name="connsiteY14" fmla="*/ 6350 h 6972300"/>
              <a:gd name="connsiteX0" fmla="*/ 346555 w 4964699"/>
              <a:gd name="connsiteY0" fmla="*/ 6350 h 6972300"/>
              <a:gd name="connsiteX1" fmla="*/ 967374 w 4964699"/>
              <a:gd name="connsiteY1" fmla="*/ 0 h 6972300"/>
              <a:gd name="connsiteX2" fmla="*/ 2684415 w 4964699"/>
              <a:gd name="connsiteY2" fmla="*/ 438150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615325 w 4964699"/>
              <a:gd name="connsiteY9" fmla="*/ 695960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346555 w 4964699"/>
              <a:gd name="connsiteY0" fmla="*/ 6350 h 6972300"/>
              <a:gd name="connsiteX1" fmla="*/ 967374 w 4964699"/>
              <a:gd name="connsiteY1" fmla="*/ 0 h 6972300"/>
              <a:gd name="connsiteX2" fmla="*/ 3621675 w 4964699"/>
              <a:gd name="connsiteY2" fmla="*/ 695706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615325 w 4964699"/>
              <a:gd name="connsiteY9" fmla="*/ 695960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346555 w 4964699"/>
              <a:gd name="connsiteY0" fmla="*/ 6350 h 6972300"/>
              <a:gd name="connsiteX1" fmla="*/ 967374 w 4964699"/>
              <a:gd name="connsiteY1" fmla="*/ 0 h 6972300"/>
              <a:gd name="connsiteX2" fmla="*/ 3621675 w 4964699"/>
              <a:gd name="connsiteY2" fmla="*/ 695706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592465 w 4964699"/>
              <a:gd name="connsiteY9" fmla="*/ 695198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154847 w 4772991"/>
              <a:gd name="connsiteY0" fmla="*/ 6350 h 6972300"/>
              <a:gd name="connsiteX1" fmla="*/ 775666 w 4772991"/>
              <a:gd name="connsiteY1" fmla="*/ 0 h 6972300"/>
              <a:gd name="connsiteX2" fmla="*/ 3429967 w 4772991"/>
              <a:gd name="connsiteY2" fmla="*/ 6957060 h 6972300"/>
              <a:gd name="connsiteX3" fmla="*/ 3508072 w 4772991"/>
              <a:gd name="connsiteY3" fmla="*/ 6967537 h 6972300"/>
              <a:gd name="connsiteX4" fmla="*/ 870916 w 4772991"/>
              <a:gd name="connsiteY4" fmla="*/ 0 h 6972300"/>
              <a:gd name="connsiteX5" fmla="*/ 2109166 w 4772991"/>
              <a:gd name="connsiteY5" fmla="*/ 0 h 6972300"/>
              <a:gd name="connsiteX6" fmla="*/ 4772991 w 4772991"/>
              <a:gd name="connsiteY6" fmla="*/ 6350 h 6972300"/>
              <a:gd name="connsiteX7" fmla="*/ 4772991 w 4772991"/>
              <a:gd name="connsiteY7" fmla="*/ 6972300 h 6972300"/>
              <a:gd name="connsiteX8" fmla="*/ 3512517 w 4772991"/>
              <a:gd name="connsiteY8" fmla="*/ 6959600 h 6972300"/>
              <a:gd name="connsiteX9" fmla="*/ 3400757 w 4772991"/>
              <a:gd name="connsiteY9" fmla="*/ 6951980 h 6972300"/>
              <a:gd name="connsiteX10" fmla="*/ 2198067 w 4772991"/>
              <a:gd name="connsiteY10" fmla="*/ 6959600 h 6972300"/>
              <a:gd name="connsiteX11" fmla="*/ 2096467 w 4772991"/>
              <a:gd name="connsiteY11" fmla="*/ 6965950 h 6972300"/>
              <a:gd name="connsiteX12" fmla="*/ 154847 w 4772991"/>
              <a:gd name="connsiteY12" fmla="*/ 6972300 h 6972300"/>
              <a:gd name="connsiteX13" fmla="*/ 121617 w 4772991"/>
              <a:gd name="connsiteY13" fmla="*/ 1974850 h 6972300"/>
              <a:gd name="connsiteX14" fmla="*/ 140667 w 4772991"/>
              <a:gd name="connsiteY14" fmla="*/ 1841500 h 6972300"/>
              <a:gd name="connsiteX15" fmla="*/ 147016 w 4772991"/>
              <a:gd name="connsiteY15" fmla="*/ 1625600 h 6972300"/>
              <a:gd name="connsiteX16" fmla="*/ 154847 w 4772991"/>
              <a:gd name="connsiteY16"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123157 w 4774531"/>
              <a:gd name="connsiteY14" fmla="*/ 1974850 h 6972300"/>
              <a:gd name="connsiteX15" fmla="*/ 142207 w 4774531"/>
              <a:gd name="connsiteY15" fmla="*/ 1841500 h 6972300"/>
              <a:gd name="connsiteX16" fmla="*/ 148556 w 4774531"/>
              <a:gd name="connsiteY16" fmla="*/ 1625600 h 6972300"/>
              <a:gd name="connsiteX17" fmla="*/ 156387 w 4774531"/>
              <a:gd name="connsiteY17"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123157 w 4774531"/>
              <a:gd name="connsiteY14" fmla="*/ 1974850 h 6972300"/>
              <a:gd name="connsiteX15" fmla="*/ 525589 w 4774531"/>
              <a:gd name="connsiteY15" fmla="*/ 1889125 h 6972300"/>
              <a:gd name="connsiteX16" fmla="*/ 148556 w 4774531"/>
              <a:gd name="connsiteY16" fmla="*/ 1625600 h 6972300"/>
              <a:gd name="connsiteX17" fmla="*/ 156387 w 4774531"/>
              <a:gd name="connsiteY17"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430338 w 4774531"/>
              <a:gd name="connsiteY14" fmla="*/ 2432050 h 6972300"/>
              <a:gd name="connsiteX15" fmla="*/ 525589 w 4774531"/>
              <a:gd name="connsiteY15" fmla="*/ 1889125 h 6972300"/>
              <a:gd name="connsiteX16" fmla="*/ 148556 w 4774531"/>
              <a:gd name="connsiteY16" fmla="*/ 1625600 h 6972300"/>
              <a:gd name="connsiteX17" fmla="*/ 156387 w 4774531"/>
              <a:gd name="connsiteY17" fmla="*/ 6350 h 6972300"/>
              <a:gd name="connsiteX0" fmla="*/ 146526 w 4764670"/>
              <a:gd name="connsiteY0" fmla="*/ 6350 h 6972300"/>
              <a:gd name="connsiteX1" fmla="*/ 767345 w 4764670"/>
              <a:gd name="connsiteY1" fmla="*/ 0 h 6972300"/>
              <a:gd name="connsiteX2" fmla="*/ 3421646 w 4764670"/>
              <a:gd name="connsiteY2" fmla="*/ 6957060 h 6972300"/>
              <a:gd name="connsiteX3" fmla="*/ 3499751 w 4764670"/>
              <a:gd name="connsiteY3" fmla="*/ 6967537 h 6972300"/>
              <a:gd name="connsiteX4" fmla="*/ 862595 w 4764670"/>
              <a:gd name="connsiteY4" fmla="*/ 0 h 6972300"/>
              <a:gd name="connsiteX5" fmla="*/ 2100845 w 4764670"/>
              <a:gd name="connsiteY5" fmla="*/ 0 h 6972300"/>
              <a:gd name="connsiteX6" fmla="*/ 4764670 w 4764670"/>
              <a:gd name="connsiteY6" fmla="*/ 6350 h 6972300"/>
              <a:gd name="connsiteX7" fmla="*/ 4764670 w 4764670"/>
              <a:gd name="connsiteY7" fmla="*/ 6972300 h 6972300"/>
              <a:gd name="connsiteX8" fmla="*/ 3504196 w 4764670"/>
              <a:gd name="connsiteY8" fmla="*/ 6959600 h 6972300"/>
              <a:gd name="connsiteX9" fmla="*/ 3392436 w 4764670"/>
              <a:gd name="connsiteY9" fmla="*/ 6951980 h 6972300"/>
              <a:gd name="connsiteX10" fmla="*/ 2189746 w 4764670"/>
              <a:gd name="connsiteY10" fmla="*/ 6959600 h 6972300"/>
              <a:gd name="connsiteX11" fmla="*/ 2088146 w 4764670"/>
              <a:gd name="connsiteY11" fmla="*/ 6965950 h 6972300"/>
              <a:gd name="connsiteX12" fmla="*/ 146526 w 4764670"/>
              <a:gd name="connsiteY12" fmla="*/ 6972300 h 6972300"/>
              <a:gd name="connsiteX13" fmla="*/ 142665 w 4764670"/>
              <a:gd name="connsiteY13" fmla="*/ 2000250 h 6972300"/>
              <a:gd name="connsiteX14" fmla="*/ 420477 w 4764670"/>
              <a:gd name="connsiteY14" fmla="*/ 2432050 h 6972300"/>
              <a:gd name="connsiteX15" fmla="*/ 515728 w 4764670"/>
              <a:gd name="connsiteY15" fmla="*/ 1889125 h 6972300"/>
              <a:gd name="connsiteX16" fmla="*/ 138695 w 4764670"/>
              <a:gd name="connsiteY16" fmla="*/ 1625600 h 6972300"/>
              <a:gd name="connsiteX17" fmla="*/ 146526 w 4764670"/>
              <a:gd name="connsiteY17" fmla="*/ 6350 h 6972300"/>
              <a:gd name="connsiteX0" fmla="*/ 146526 w 4764670"/>
              <a:gd name="connsiteY0" fmla="*/ 6350 h 6972300"/>
              <a:gd name="connsiteX1" fmla="*/ 767345 w 4764670"/>
              <a:gd name="connsiteY1" fmla="*/ 0 h 6972300"/>
              <a:gd name="connsiteX2" fmla="*/ 3421646 w 4764670"/>
              <a:gd name="connsiteY2" fmla="*/ 6957060 h 6972300"/>
              <a:gd name="connsiteX3" fmla="*/ 3499751 w 4764670"/>
              <a:gd name="connsiteY3" fmla="*/ 6967537 h 6972300"/>
              <a:gd name="connsiteX4" fmla="*/ 862595 w 4764670"/>
              <a:gd name="connsiteY4" fmla="*/ 0 h 6972300"/>
              <a:gd name="connsiteX5" fmla="*/ 2100845 w 4764670"/>
              <a:gd name="connsiteY5" fmla="*/ 0 h 6972300"/>
              <a:gd name="connsiteX6" fmla="*/ 4764670 w 4764670"/>
              <a:gd name="connsiteY6" fmla="*/ 6350 h 6972300"/>
              <a:gd name="connsiteX7" fmla="*/ 4764670 w 4764670"/>
              <a:gd name="connsiteY7" fmla="*/ 6972300 h 6972300"/>
              <a:gd name="connsiteX8" fmla="*/ 3504196 w 4764670"/>
              <a:gd name="connsiteY8" fmla="*/ 6959600 h 6972300"/>
              <a:gd name="connsiteX9" fmla="*/ 3392436 w 4764670"/>
              <a:gd name="connsiteY9" fmla="*/ 6951980 h 6972300"/>
              <a:gd name="connsiteX10" fmla="*/ 2189746 w 4764670"/>
              <a:gd name="connsiteY10" fmla="*/ 6959600 h 6972300"/>
              <a:gd name="connsiteX11" fmla="*/ 2088146 w 4764670"/>
              <a:gd name="connsiteY11" fmla="*/ 6965950 h 6972300"/>
              <a:gd name="connsiteX12" fmla="*/ 146526 w 4764670"/>
              <a:gd name="connsiteY12" fmla="*/ 6972300 h 6972300"/>
              <a:gd name="connsiteX13" fmla="*/ 142665 w 4764670"/>
              <a:gd name="connsiteY13" fmla="*/ 2000250 h 6972300"/>
              <a:gd name="connsiteX14" fmla="*/ 420477 w 4764670"/>
              <a:gd name="connsiteY14" fmla="*/ 2432050 h 6972300"/>
              <a:gd name="connsiteX15" fmla="*/ 515728 w 4764670"/>
              <a:gd name="connsiteY15" fmla="*/ 1889125 h 6972300"/>
              <a:gd name="connsiteX16" fmla="*/ 138695 w 4764670"/>
              <a:gd name="connsiteY16" fmla="*/ 1625600 h 6972300"/>
              <a:gd name="connsiteX17" fmla="*/ 146526 w 476467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411767 w 4755960"/>
              <a:gd name="connsiteY14" fmla="*/ 2432050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1545242 w 4755960"/>
              <a:gd name="connsiteY14" fmla="*/ 5541962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2078642 w 4755960"/>
              <a:gd name="connsiteY14" fmla="*/ 6970712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29985 w 4755960"/>
              <a:gd name="connsiteY16" fmla="*/ 1625600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44272 w 4755960"/>
              <a:gd name="connsiteY16" fmla="*/ 1616076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44272 w 4755960"/>
              <a:gd name="connsiteY16" fmla="*/ 1616076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29985 w 4755960"/>
              <a:gd name="connsiteY16" fmla="*/ 1630363 h 6977874"/>
              <a:gd name="connsiteX17" fmla="*/ 137816 w 4755960"/>
              <a:gd name="connsiteY17" fmla="*/ 6350 h 6977874"/>
              <a:gd name="connsiteX0" fmla="*/ 142330 w 4760474"/>
              <a:gd name="connsiteY0" fmla="*/ 6350 h 6977874"/>
              <a:gd name="connsiteX1" fmla="*/ 763149 w 4760474"/>
              <a:gd name="connsiteY1" fmla="*/ 0 h 6977874"/>
              <a:gd name="connsiteX2" fmla="*/ 3417450 w 4760474"/>
              <a:gd name="connsiteY2" fmla="*/ 6957060 h 6977874"/>
              <a:gd name="connsiteX3" fmla="*/ 3495555 w 4760474"/>
              <a:gd name="connsiteY3" fmla="*/ 6967537 h 6977874"/>
              <a:gd name="connsiteX4" fmla="*/ 858399 w 4760474"/>
              <a:gd name="connsiteY4" fmla="*/ 0 h 6977874"/>
              <a:gd name="connsiteX5" fmla="*/ 2096649 w 4760474"/>
              <a:gd name="connsiteY5" fmla="*/ 0 h 6977874"/>
              <a:gd name="connsiteX6" fmla="*/ 4760474 w 4760474"/>
              <a:gd name="connsiteY6" fmla="*/ 6350 h 6977874"/>
              <a:gd name="connsiteX7" fmla="*/ 4760474 w 4760474"/>
              <a:gd name="connsiteY7" fmla="*/ 6972300 h 6977874"/>
              <a:gd name="connsiteX8" fmla="*/ 3500000 w 4760474"/>
              <a:gd name="connsiteY8" fmla="*/ 6959600 h 6977874"/>
              <a:gd name="connsiteX9" fmla="*/ 3388240 w 4760474"/>
              <a:gd name="connsiteY9" fmla="*/ 6951980 h 6977874"/>
              <a:gd name="connsiteX10" fmla="*/ 2185550 w 4760474"/>
              <a:gd name="connsiteY10" fmla="*/ 6959600 h 6977874"/>
              <a:gd name="connsiteX11" fmla="*/ 2083950 w 4760474"/>
              <a:gd name="connsiteY11" fmla="*/ 6965950 h 6977874"/>
              <a:gd name="connsiteX12" fmla="*/ 142330 w 4760474"/>
              <a:gd name="connsiteY12" fmla="*/ 6972300 h 6977874"/>
              <a:gd name="connsiteX13" fmla="*/ 155138 w 4760474"/>
              <a:gd name="connsiteY13" fmla="*/ 1883569 h 6977874"/>
              <a:gd name="connsiteX14" fmla="*/ 2083156 w 4760474"/>
              <a:gd name="connsiteY14" fmla="*/ 6970712 h 6977874"/>
              <a:gd name="connsiteX15" fmla="*/ 2183170 w 4760474"/>
              <a:gd name="connsiteY15" fmla="*/ 6956425 h 6977874"/>
              <a:gd name="connsiteX16" fmla="*/ 134499 w 4760474"/>
              <a:gd name="connsiteY16" fmla="*/ 1630363 h 6977874"/>
              <a:gd name="connsiteX17" fmla="*/ 142330 w 4760474"/>
              <a:gd name="connsiteY17" fmla="*/ 6350 h 6977874"/>
              <a:gd name="connsiteX0" fmla="*/ 144363 w 4762507"/>
              <a:gd name="connsiteY0" fmla="*/ 6350 h 6977874"/>
              <a:gd name="connsiteX1" fmla="*/ 765182 w 4762507"/>
              <a:gd name="connsiteY1" fmla="*/ 0 h 6977874"/>
              <a:gd name="connsiteX2" fmla="*/ 3419483 w 4762507"/>
              <a:gd name="connsiteY2" fmla="*/ 6957060 h 6977874"/>
              <a:gd name="connsiteX3" fmla="*/ 3497588 w 4762507"/>
              <a:gd name="connsiteY3" fmla="*/ 6967537 h 6977874"/>
              <a:gd name="connsiteX4" fmla="*/ 860432 w 4762507"/>
              <a:gd name="connsiteY4" fmla="*/ 0 h 6977874"/>
              <a:gd name="connsiteX5" fmla="*/ 2098682 w 4762507"/>
              <a:gd name="connsiteY5" fmla="*/ 0 h 6977874"/>
              <a:gd name="connsiteX6" fmla="*/ 4762507 w 4762507"/>
              <a:gd name="connsiteY6" fmla="*/ 6350 h 6977874"/>
              <a:gd name="connsiteX7" fmla="*/ 4762507 w 4762507"/>
              <a:gd name="connsiteY7" fmla="*/ 6972300 h 6977874"/>
              <a:gd name="connsiteX8" fmla="*/ 3502033 w 4762507"/>
              <a:gd name="connsiteY8" fmla="*/ 6959600 h 6977874"/>
              <a:gd name="connsiteX9" fmla="*/ 3390273 w 4762507"/>
              <a:gd name="connsiteY9" fmla="*/ 6951980 h 6977874"/>
              <a:gd name="connsiteX10" fmla="*/ 2187583 w 4762507"/>
              <a:gd name="connsiteY10" fmla="*/ 6959600 h 6977874"/>
              <a:gd name="connsiteX11" fmla="*/ 2085983 w 4762507"/>
              <a:gd name="connsiteY11" fmla="*/ 6965950 h 6977874"/>
              <a:gd name="connsiteX12" fmla="*/ 144363 w 4762507"/>
              <a:gd name="connsiteY12" fmla="*/ 6972300 h 6977874"/>
              <a:gd name="connsiteX13" fmla="*/ 157171 w 4762507"/>
              <a:gd name="connsiteY13" fmla="*/ 1883569 h 6977874"/>
              <a:gd name="connsiteX14" fmla="*/ 2085189 w 4762507"/>
              <a:gd name="connsiteY14" fmla="*/ 6970712 h 6977874"/>
              <a:gd name="connsiteX15" fmla="*/ 2185203 w 4762507"/>
              <a:gd name="connsiteY15" fmla="*/ 6956425 h 6977874"/>
              <a:gd name="connsiteX16" fmla="*/ 136532 w 4762507"/>
              <a:gd name="connsiteY16" fmla="*/ 1630363 h 6977874"/>
              <a:gd name="connsiteX17" fmla="*/ 144363 w 4762507"/>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8220 w 4626364"/>
              <a:gd name="connsiteY12" fmla="*/ 6972300 h 6977874"/>
              <a:gd name="connsiteX13" fmla="*/ 21028 w 4626364"/>
              <a:gd name="connsiteY13" fmla="*/ 188356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46320 w 4626364"/>
              <a:gd name="connsiteY12" fmla="*/ 6965950 h 6977874"/>
              <a:gd name="connsiteX13" fmla="*/ 21028 w 4626364"/>
              <a:gd name="connsiteY13" fmla="*/ 188356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46320 w 4626364"/>
              <a:gd name="connsiteY12" fmla="*/ 6965950 h 6977874"/>
              <a:gd name="connsiteX13" fmla="*/ 40078 w 4626364"/>
              <a:gd name="connsiteY13" fmla="*/ 194071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350 h 6977874"/>
              <a:gd name="connsiteX7" fmla="*/ 4618340 w 4618340"/>
              <a:gd name="connsiteY7" fmla="*/ 6972300 h 6977874"/>
              <a:gd name="connsiteX8" fmla="*/ 3357866 w 4618340"/>
              <a:gd name="connsiteY8" fmla="*/ 6959600 h 6977874"/>
              <a:gd name="connsiteX9" fmla="*/ 3246106 w 4618340"/>
              <a:gd name="connsiteY9" fmla="*/ 6951980 h 6977874"/>
              <a:gd name="connsiteX10" fmla="*/ 2043416 w 4618340"/>
              <a:gd name="connsiteY10" fmla="*/ 6959600 h 6977874"/>
              <a:gd name="connsiteX11" fmla="*/ 1941816 w 4618340"/>
              <a:gd name="connsiteY11" fmla="*/ 6965950 h 6977874"/>
              <a:gd name="connsiteX12" fmla="*/ 38296 w 4618340"/>
              <a:gd name="connsiteY12" fmla="*/ 6965950 h 6977874"/>
              <a:gd name="connsiteX13" fmla="*/ 32054 w 4618340"/>
              <a:gd name="connsiteY13" fmla="*/ 1940719 h 6977874"/>
              <a:gd name="connsiteX14" fmla="*/ 1941022 w 4618340"/>
              <a:gd name="connsiteY14" fmla="*/ 6970712 h 6977874"/>
              <a:gd name="connsiteX15" fmla="*/ 2041036 w 4618340"/>
              <a:gd name="connsiteY15" fmla="*/ 6956425 h 6977874"/>
              <a:gd name="connsiteX16" fmla="*/ 24115 w 4618340"/>
              <a:gd name="connsiteY16" fmla="*/ 1712913 h 6977874"/>
              <a:gd name="connsiteX17" fmla="*/ 196 w 4618340"/>
              <a:gd name="connsiteY17"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4102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6007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7912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8340" h="6977874">
                <a:moveTo>
                  <a:pt x="196" y="6350"/>
                </a:moveTo>
                <a:lnTo>
                  <a:pt x="621015" y="0"/>
                </a:lnTo>
                <a:lnTo>
                  <a:pt x="3275316" y="6957060"/>
                </a:lnTo>
                <a:lnTo>
                  <a:pt x="3353421" y="6967537"/>
                </a:lnTo>
                <a:lnTo>
                  <a:pt x="716265" y="0"/>
                </a:lnTo>
                <a:lnTo>
                  <a:pt x="1954515" y="0"/>
                </a:lnTo>
                <a:lnTo>
                  <a:pt x="4618340" y="6972300"/>
                </a:lnTo>
                <a:lnTo>
                  <a:pt x="3357866" y="6959600"/>
                </a:lnTo>
                <a:lnTo>
                  <a:pt x="3246106" y="6951980"/>
                </a:lnTo>
                <a:lnTo>
                  <a:pt x="2043416" y="6959600"/>
                </a:lnTo>
                <a:lnTo>
                  <a:pt x="1941816" y="6965950"/>
                </a:lnTo>
                <a:lnTo>
                  <a:pt x="38296" y="6965950"/>
                </a:lnTo>
                <a:cubicBezTo>
                  <a:pt x="44646" y="6792383"/>
                  <a:pt x="28067" y="1949714"/>
                  <a:pt x="32054" y="1940719"/>
                </a:cubicBezTo>
                <a:cubicBezTo>
                  <a:pt x="36041" y="1946011"/>
                  <a:pt x="1974889" y="7009870"/>
                  <a:pt x="1979122" y="6970712"/>
                </a:cubicBezTo>
                <a:cubicBezTo>
                  <a:pt x="1983355" y="6931554"/>
                  <a:pt x="2036803" y="7014633"/>
                  <a:pt x="2041036" y="6956425"/>
                </a:cubicBezTo>
                <a:cubicBezTo>
                  <a:pt x="2045269" y="6898217"/>
                  <a:pt x="16989" y="1718734"/>
                  <a:pt x="24115" y="1712913"/>
                </a:cubicBezTo>
                <a:cubicBezTo>
                  <a:pt x="21963" y="1716088"/>
                  <a:pt x="-2414" y="546100"/>
                  <a:pt x="196" y="6350"/>
                </a:cubicBezTo>
                <a:close/>
              </a:path>
            </a:pathLst>
          </a:custGeom>
          <a:solidFill>
            <a:schemeClr val="bg1">
              <a:lumMod val="65000"/>
            </a:schemeClr>
          </a:solidFill>
        </p:spPr>
        <p:txBody>
          <a:bodyPr lIns="684000" tIns="3096000"/>
          <a:lstStyle>
            <a:lvl1pPr>
              <a:defRPr sz="1200" b="1">
                <a:solidFill>
                  <a:schemeClr val="bg1"/>
                </a:solidFill>
              </a:defRPr>
            </a:lvl1pPr>
          </a:lstStyle>
          <a:p>
            <a:endParaRPr lang="en-US" dirty="0"/>
          </a:p>
        </p:txBody>
      </p:sp>
    </p:spTree>
    <p:extLst>
      <p:ext uri="{BB962C8B-B14F-4D97-AF65-F5344CB8AC3E}">
        <p14:creationId xmlns:p14="http://schemas.microsoft.com/office/powerpoint/2010/main" val="3429781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L1 Pictures with headings">
    <p:bg>
      <p:bgPr>
        <a:solidFill>
          <a:schemeClr val="accent1"/>
        </a:solidFill>
        <a:effectLst/>
      </p:bgPr>
    </p:bg>
    <p:spTree>
      <p:nvGrpSpPr>
        <p:cNvPr id="1" name=""/>
        <p:cNvGrpSpPr/>
        <p:nvPr/>
      </p:nvGrpSpPr>
      <p:grpSpPr>
        <a:xfrm>
          <a:off x="0" y="0"/>
          <a:ext cx="0" cy="0"/>
          <a:chOff x="0" y="0"/>
          <a:chExt cx="0" cy="0"/>
        </a:xfrm>
      </p:grpSpPr>
      <p:sp>
        <p:nvSpPr>
          <p:cNvPr id="30" name="Picture Placeholder 26"/>
          <p:cNvSpPr>
            <a:spLocks noGrp="1"/>
          </p:cNvSpPr>
          <p:nvPr>
            <p:ph type="pic" sz="quarter" idx="13"/>
          </p:nvPr>
        </p:nvSpPr>
        <p:spPr>
          <a:xfrm>
            <a:off x="-771525" y="346559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3" name="Picture Placeholder 26"/>
          <p:cNvSpPr>
            <a:spLocks noGrp="1"/>
          </p:cNvSpPr>
          <p:nvPr>
            <p:ph type="pic" sz="quarter" idx="16"/>
          </p:nvPr>
        </p:nvSpPr>
        <p:spPr>
          <a:xfrm>
            <a:off x="552450" y="-12927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18" name="Text Placeholder 36"/>
          <p:cNvSpPr>
            <a:spLocks noGrp="1"/>
          </p:cNvSpPr>
          <p:nvPr>
            <p:ph type="body" sz="quarter" idx="25"/>
          </p:nvPr>
        </p:nvSpPr>
        <p:spPr>
          <a:xfrm>
            <a:off x="545306" y="287660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5" name="Text Placeholder 36"/>
          <p:cNvSpPr>
            <a:spLocks noGrp="1"/>
          </p:cNvSpPr>
          <p:nvPr>
            <p:ph type="body" sz="quarter" idx="26"/>
          </p:nvPr>
        </p:nvSpPr>
        <p:spPr>
          <a:xfrm>
            <a:off x="321469" y="347747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9" name="Picture Placeholder 26"/>
          <p:cNvSpPr>
            <a:spLocks noGrp="1"/>
          </p:cNvSpPr>
          <p:nvPr>
            <p:ph type="pic" sz="quarter" idx="27"/>
          </p:nvPr>
        </p:nvSpPr>
        <p:spPr>
          <a:xfrm>
            <a:off x="1872615" y="346559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6" name="Picture Placeholder 26"/>
          <p:cNvSpPr>
            <a:spLocks noGrp="1"/>
          </p:cNvSpPr>
          <p:nvPr>
            <p:ph type="pic" sz="quarter" idx="28"/>
          </p:nvPr>
        </p:nvSpPr>
        <p:spPr>
          <a:xfrm>
            <a:off x="3196590" y="-12927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43" name="Text Placeholder 36"/>
          <p:cNvSpPr>
            <a:spLocks noGrp="1"/>
          </p:cNvSpPr>
          <p:nvPr>
            <p:ph type="body" sz="quarter" idx="29"/>
          </p:nvPr>
        </p:nvSpPr>
        <p:spPr>
          <a:xfrm>
            <a:off x="3189446" y="287660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4" name="Text Placeholder 36"/>
          <p:cNvSpPr>
            <a:spLocks noGrp="1"/>
          </p:cNvSpPr>
          <p:nvPr>
            <p:ph type="body" sz="quarter" idx="30"/>
          </p:nvPr>
        </p:nvSpPr>
        <p:spPr>
          <a:xfrm>
            <a:off x="2965609" y="347747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5" name="Picture Placeholder 26"/>
          <p:cNvSpPr>
            <a:spLocks noGrp="1"/>
          </p:cNvSpPr>
          <p:nvPr>
            <p:ph type="pic" sz="quarter" idx="31"/>
          </p:nvPr>
        </p:nvSpPr>
        <p:spPr>
          <a:xfrm>
            <a:off x="4509136" y="3465595"/>
            <a:ext cx="3987164"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46" name="Picture Placeholder 26"/>
          <p:cNvSpPr>
            <a:spLocks noGrp="1"/>
          </p:cNvSpPr>
          <p:nvPr>
            <p:ph type="pic" sz="quarter" idx="32"/>
          </p:nvPr>
        </p:nvSpPr>
        <p:spPr>
          <a:xfrm>
            <a:off x="5833110" y="-129275"/>
            <a:ext cx="3977640"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47" name="Text Placeholder 36"/>
          <p:cNvSpPr>
            <a:spLocks noGrp="1"/>
          </p:cNvSpPr>
          <p:nvPr>
            <p:ph type="body" sz="quarter" idx="33"/>
          </p:nvPr>
        </p:nvSpPr>
        <p:spPr>
          <a:xfrm>
            <a:off x="5831790" y="287660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8" name="Text Placeholder 36"/>
          <p:cNvSpPr>
            <a:spLocks noGrp="1"/>
          </p:cNvSpPr>
          <p:nvPr>
            <p:ph type="body" sz="quarter" idx="34"/>
          </p:nvPr>
        </p:nvSpPr>
        <p:spPr>
          <a:xfrm>
            <a:off x="5607953" y="347747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676022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5 - white">
    <p:spTree>
      <p:nvGrpSpPr>
        <p:cNvPr id="1" name=""/>
        <p:cNvGrpSpPr/>
        <p:nvPr/>
      </p:nvGrpSpPr>
      <p:grpSpPr>
        <a:xfrm>
          <a:off x="0" y="0"/>
          <a:ext cx="0" cy="0"/>
          <a:chOff x="0" y="0"/>
          <a:chExt cx="0" cy="0"/>
        </a:xfrm>
      </p:grpSpPr>
      <p:sp>
        <p:nvSpPr>
          <p:cNvPr id="28" name="Text Placeholder 26"/>
          <p:cNvSpPr>
            <a:spLocks noGrp="1"/>
          </p:cNvSpPr>
          <p:nvPr>
            <p:ph type="body" sz="quarter" idx="11"/>
          </p:nvPr>
        </p:nvSpPr>
        <p:spPr>
          <a:xfrm>
            <a:off x="600077" y="4241800"/>
            <a:ext cx="7964486" cy="313267"/>
          </a:xfrm>
          <a:prstGeom prst="rect">
            <a:avLst/>
          </a:prstGeom>
        </p:spPr>
        <p:txBody>
          <a:bodyPr lIns="0" tIns="0" rIns="0" bIns="0">
            <a:noAutofit/>
          </a:bodyPr>
          <a:lstStyle>
            <a:lvl1pPr>
              <a:spcBef>
                <a:spcPts val="0"/>
              </a:spcBef>
              <a:spcAft>
                <a:spcPts val="0"/>
              </a:spcAft>
              <a:defRPr sz="1000">
                <a:solidFill>
                  <a:schemeClr val="tx1"/>
                </a:solidFill>
              </a:defRPr>
            </a:lvl1pPr>
          </a:lstStyle>
          <a:p>
            <a:pPr lvl="0"/>
            <a:r>
              <a:rPr lang="en-US" dirty="0"/>
              <a:t>Click to edit Master text styles</a:t>
            </a:r>
          </a:p>
        </p:txBody>
      </p:sp>
      <p:sp>
        <p:nvSpPr>
          <p:cNvPr id="29" name="Title 28"/>
          <p:cNvSpPr>
            <a:spLocks noGrp="1"/>
          </p:cNvSpPr>
          <p:nvPr>
            <p:ph type="title"/>
          </p:nvPr>
        </p:nvSpPr>
        <p:spPr>
          <a:xfrm>
            <a:off x="600077" y="1845735"/>
            <a:ext cx="7964486" cy="1439333"/>
          </a:xfrm>
        </p:spPr>
        <p:txBody>
          <a:bodyPr>
            <a:noAutofit/>
          </a:bodyPr>
          <a:lstStyle>
            <a:lvl1pPr>
              <a:lnSpc>
                <a:spcPts val="3600"/>
              </a:lnSpc>
              <a:defRPr sz="3600">
                <a:solidFill>
                  <a:schemeClr val="tx1"/>
                </a:solidFill>
              </a:defRPr>
            </a:lvl1pPr>
          </a:lstStyle>
          <a:p>
            <a:r>
              <a:rPr lang="en-US" dirty="0"/>
              <a:t>Click to edit Master title style</a:t>
            </a:r>
          </a:p>
        </p:txBody>
      </p:sp>
      <p:sp>
        <p:nvSpPr>
          <p:cNvPr id="33" name="Text Placeholder 32"/>
          <p:cNvSpPr>
            <a:spLocks noGrp="1"/>
          </p:cNvSpPr>
          <p:nvPr>
            <p:ph type="body" sz="quarter" idx="12"/>
          </p:nvPr>
        </p:nvSpPr>
        <p:spPr>
          <a:xfrm>
            <a:off x="600077" y="3471335"/>
            <a:ext cx="7964486" cy="601133"/>
          </a:xfrm>
          <a:prstGeom prst="rect">
            <a:avLst/>
          </a:prstGeom>
        </p:spPr>
        <p:txBody>
          <a:bodyPr lIns="0" tIns="0" rIns="0" bIns="0">
            <a:noAutofit/>
          </a:bodyPr>
          <a:lstStyle>
            <a:lvl1pPr>
              <a:lnSpc>
                <a:spcPts val="1700"/>
              </a:lnSpc>
              <a:spcBef>
                <a:spcPts val="0"/>
              </a:spcBef>
              <a:spcAft>
                <a:spcPts val="0"/>
              </a:spcAft>
              <a:defRPr>
                <a:solidFill>
                  <a:schemeClr val="tx1"/>
                </a:solidFill>
              </a:defRPr>
            </a:lvl1pPr>
          </a:lstStyle>
          <a:p>
            <a:pPr lvl="0"/>
            <a:r>
              <a:rPr lang="en-US" dirty="0"/>
              <a:t>Click to edit Master text styles</a:t>
            </a:r>
          </a:p>
        </p:txBody>
      </p:sp>
      <p:sp>
        <p:nvSpPr>
          <p:cNvPr id="8" name="Parallelogram 7"/>
          <p:cNvSpPr/>
          <p:nvPr userDrawn="1"/>
        </p:nvSpPr>
        <p:spPr>
          <a:xfrm>
            <a:off x="593726" y="1364891"/>
            <a:ext cx="720000" cy="60959"/>
          </a:xfrm>
          <a:prstGeom prst="parallelogram">
            <a:avLst>
              <a:gd name="adj" fmla="val 37993"/>
            </a:avLst>
          </a:pr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Picture Placeholder 3"/>
          <p:cNvSpPr>
            <a:spLocks noGrp="1"/>
          </p:cNvSpPr>
          <p:nvPr>
            <p:ph type="pic" sz="quarter" idx="16" hasCustomPrompt="1"/>
          </p:nvPr>
        </p:nvSpPr>
        <p:spPr>
          <a:xfrm>
            <a:off x="7170515" y="5289208"/>
            <a:ext cx="1413098" cy="459281"/>
          </a:xfrm>
        </p:spPr>
        <p:txBody>
          <a:bodyPr/>
          <a:lstStyle>
            <a:lvl1pPr algn="ctr">
              <a:defRPr sz="800" b="1"/>
            </a:lvl1pPr>
          </a:lstStyle>
          <a:p>
            <a:r>
              <a:rPr lang="en-AU" dirty="0"/>
              <a:t>Client logo</a:t>
            </a:r>
            <a:endParaRPr lang="en-US" dirty="0"/>
          </a:p>
        </p:txBody>
      </p:sp>
      <p:sp>
        <p:nvSpPr>
          <p:cNvPr id="15" name="Date Placeholder 3"/>
          <p:cNvSpPr txBox="1">
            <a:spLocks/>
          </p:cNvSpPr>
          <p:nvPr userDrawn="1"/>
        </p:nvSpPr>
        <p:spPr>
          <a:xfrm>
            <a:off x="607174" y="6248944"/>
            <a:ext cx="1269504" cy="216024"/>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900" dirty="0">
                <a:solidFill>
                  <a:schemeClr val="tx1"/>
                </a:solidFill>
                <a:latin typeface="Segoe UI" panose="020B0502040204020203" pitchFamily="34" charset="0"/>
                <a:ea typeface="Segoe UI" panose="020B0502040204020203" pitchFamily="34" charset="0"/>
                <a:cs typeface="Segoe UI" panose="020B0502040204020203" pitchFamily="34" charset="0"/>
              </a:rPr>
              <a:t>www.</a:t>
            </a:r>
            <a:r>
              <a:rPr lang="en-AU" sz="900" b="1" dirty="0">
                <a:solidFill>
                  <a:schemeClr val="tx1"/>
                </a:solidFill>
                <a:latin typeface="Segoe UI" panose="020B0502040204020203" pitchFamily="34" charset="0"/>
                <a:ea typeface="Segoe UI" panose="020B0502040204020203" pitchFamily="34" charset="0"/>
                <a:cs typeface="Segoe UI" panose="020B0502040204020203" pitchFamily="34" charset="0"/>
              </a:rPr>
              <a:t>advisian</a:t>
            </a:r>
            <a:r>
              <a:rPr lang="en-AU" sz="900" dirty="0">
                <a:solidFill>
                  <a:schemeClr val="tx1"/>
                </a:solidFill>
                <a:latin typeface="Segoe UI" panose="020B0502040204020203" pitchFamily="34" charset="0"/>
                <a:ea typeface="Segoe UI" panose="020B0502040204020203" pitchFamily="34" charset="0"/>
                <a:cs typeface="Segoe UI" panose="020B0502040204020203" pitchFamily="34" charset="0"/>
              </a:rPr>
              <a:t>.com</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5526" y="5282894"/>
            <a:ext cx="1227613" cy="423269"/>
          </a:xfrm>
          <a:prstGeom prst="rect">
            <a:avLst/>
          </a:prstGeom>
          <a:noFill/>
          <a:ln>
            <a:noFill/>
          </a:ln>
        </p:spPr>
      </p:pic>
    </p:spTree>
    <p:extLst>
      <p:ext uri="{BB962C8B-B14F-4D97-AF65-F5344CB8AC3E}">
        <p14:creationId xmlns:p14="http://schemas.microsoft.com/office/powerpoint/2010/main" val="1882015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L2 Pictures with headings">
    <p:bg>
      <p:bgPr>
        <a:solidFill>
          <a:schemeClr val="accent1"/>
        </a:solidFill>
        <a:effectLst/>
      </p:bgPr>
    </p:bg>
    <p:spTree>
      <p:nvGrpSpPr>
        <p:cNvPr id="1" name=""/>
        <p:cNvGrpSpPr/>
        <p:nvPr/>
      </p:nvGrpSpPr>
      <p:grpSpPr>
        <a:xfrm>
          <a:off x="0" y="0"/>
          <a:ext cx="0" cy="0"/>
          <a:chOff x="0" y="0"/>
          <a:chExt cx="0" cy="0"/>
        </a:xfrm>
      </p:grpSpPr>
      <p:sp>
        <p:nvSpPr>
          <p:cNvPr id="30" name="Picture Placeholder 26"/>
          <p:cNvSpPr>
            <a:spLocks noGrp="1"/>
          </p:cNvSpPr>
          <p:nvPr>
            <p:ph type="pic" sz="quarter" idx="13"/>
          </p:nvPr>
        </p:nvSpPr>
        <p:spPr>
          <a:xfrm>
            <a:off x="-771525" y="346559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1" name="Picture Placeholder 26"/>
          <p:cNvSpPr>
            <a:spLocks noGrp="1"/>
          </p:cNvSpPr>
          <p:nvPr>
            <p:ph type="pic" sz="quarter" idx="14"/>
          </p:nvPr>
        </p:nvSpPr>
        <p:spPr>
          <a:xfrm>
            <a:off x="1899779" y="346559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2" name="Picture Placeholder 26"/>
          <p:cNvSpPr>
            <a:spLocks noGrp="1"/>
          </p:cNvSpPr>
          <p:nvPr>
            <p:ph type="pic" sz="quarter" idx="15"/>
          </p:nvPr>
        </p:nvSpPr>
        <p:spPr>
          <a:xfrm>
            <a:off x="4580608" y="346559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3" name="Picture Placeholder 26"/>
          <p:cNvSpPr>
            <a:spLocks noGrp="1"/>
          </p:cNvSpPr>
          <p:nvPr>
            <p:ph type="pic" sz="quarter" idx="16"/>
          </p:nvPr>
        </p:nvSpPr>
        <p:spPr>
          <a:xfrm>
            <a:off x="552450" y="-12927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4" name="Picture Placeholder 26"/>
          <p:cNvSpPr>
            <a:spLocks noGrp="1"/>
          </p:cNvSpPr>
          <p:nvPr>
            <p:ph type="pic" sz="quarter" idx="17"/>
          </p:nvPr>
        </p:nvSpPr>
        <p:spPr>
          <a:xfrm>
            <a:off x="3223754" y="-12927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5" name="Picture Placeholder 26"/>
          <p:cNvSpPr>
            <a:spLocks noGrp="1"/>
          </p:cNvSpPr>
          <p:nvPr>
            <p:ph type="pic" sz="quarter" idx="18"/>
          </p:nvPr>
        </p:nvSpPr>
        <p:spPr>
          <a:xfrm>
            <a:off x="5904583" y="-12927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7" name="Text Placeholder 36"/>
          <p:cNvSpPr>
            <a:spLocks noGrp="1"/>
          </p:cNvSpPr>
          <p:nvPr>
            <p:ph type="body" sz="quarter" idx="19"/>
          </p:nvPr>
        </p:nvSpPr>
        <p:spPr>
          <a:xfrm>
            <a:off x="-190500" y="59150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38" name="Text Placeholder 36"/>
          <p:cNvSpPr>
            <a:spLocks noGrp="1"/>
          </p:cNvSpPr>
          <p:nvPr>
            <p:ph type="body" sz="quarter" idx="20"/>
          </p:nvPr>
        </p:nvSpPr>
        <p:spPr>
          <a:xfrm>
            <a:off x="4591050" y="361950"/>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39" name="Text Placeholder 36"/>
          <p:cNvSpPr>
            <a:spLocks noGrp="1"/>
          </p:cNvSpPr>
          <p:nvPr>
            <p:ph type="body" sz="quarter" idx="21"/>
          </p:nvPr>
        </p:nvSpPr>
        <p:spPr>
          <a:xfrm>
            <a:off x="3324225" y="3714750"/>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1" name="Text Placeholder 36"/>
          <p:cNvSpPr>
            <a:spLocks noGrp="1"/>
          </p:cNvSpPr>
          <p:nvPr>
            <p:ph type="body" sz="quarter" idx="23"/>
          </p:nvPr>
        </p:nvSpPr>
        <p:spPr>
          <a:xfrm>
            <a:off x="5172075" y="59150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2" name="Text Placeholder 36"/>
          <p:cNvSpPr>
            <a:spLocks noGrp="1"/>
          </p:cNvSpPr>
          <p:nvPr>
            <p:ph type="body" sz="quarter" idx="24"/>
          </p:nvPr>
        </p:nvSpPr>
        <p:spPr>
          <a:xfrm>
            <a:off x="6400800" y="26003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5" name="Text Placeholder 36"/>
          <p:cNvSpPr>
            <a:spLocks noGrp="1"/>
          </p:cNvSpPr>
          <p:nvPr>
            <p:ph type="body" sz="quarter" idx="25"/>
          </p:nvPr>
        </p:nvSpPr>
        <p:spPr>
          <a:xfrm>
            <a:off x="990600" y="26003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134319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L3 Pictures with headings">
    <p:bg>
      <p:bgPr>
        <a:solidFill>
          <a:schemeClr val="accent1"/>
        </a:solidFill>
        <a:effectLst/>
      </p:bgPr>
    </p:bg>
    <p:spTree>
      <p:nvGrpSpPr>
        <p:cNvPr id="1" name=""/>
        <p:cNvGrpSpPr/>
        <p:nvPr/>
      </p:nvGrpSpPr>
      <p:grpSpPr>
        <a:xfrm>
          <a:off x="0" y="0"/>
          <a:ext cx="0" cy="0"/>
          <a:chOff x="0" y="0"/>
          <a:chExt cx="0" cy="0"/>
        </a:xfrm>
      </p:grpSpPr>
      <p:sp>
        <p:nvSpPr>
          <p:cNvPr id="30" name="Picture Placeholder 26"/>
          <p:cNvSpPr>
            <a:spLocks noGrp="1"/>
          </p:cNvSpPr>
          <p:nvPr>
            <p:ph type="pic" sz="quarter" idx="13"/>
          </p:nvPr>
        </p:nvSpPr>
        <p:spPr>
          <a:xfrm>
            <a:off x="-7510" y="3427229"/>
            <a:ext cx="3863072" cy="3476625"/>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1" name="Picture Placeholder 26"/>
          <p:cNvSpPr>
            <a:spLocks noGrp="1"/>
          </p:cNvSpPr>
          <p:nvPr>
            <p:ph type="pic" sz="quarter" idx="14"/>
          </p:nvPr>
        </p:nvSpPr>
        <p:spPr>
          <a:xfrm>
            <a:off x="2579646" y="3427229"/>
            <a:ext cx="3863072" cy="3476625"/>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3" name="Picture Placeholder 26"/>
          <p:cNvSpPr>
            <a:spLocks noGrp="1"/>
          </p:cNvSpPr>
          <p:nvPr>
            <p:ph type="pic" sz="quarter" idx="16"/>
          </p:nvPr>
        </p:nvSpPr>
        <p:spPr>
          <a:xfrm>
            <a:off x="1267779" y="-47517"/>
            <a:ext cx="3863072" cy="3476625"/>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4" name="Picture Placeholder 26"/>
          <p:cNvSpPr>
            <a:spLocks noGrp="1"/>
          </p:cNvSpPr>
          <p:nvPr>
            <p:ph type="pic" sz="quarter" idx="17"/>
          </p:nvPr>
        </p:nvSpPr>
        <p:spPr>
          <a:xfrm>
            <a:off x="3858119" y="-47517"/>
            <a:ext cx="3863072" cy="3476625"/>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2" name="Title 1"/>
          <p:cNvSpPr>
            <a:spLocks noGrp="1"/>
          </p:cNvSpPr>
          <p:nvPr>
            <p:ph type="title"/>
          </p:nvPr>
        </p:nvSpPr>
        <p:spPr>
          <a:xfrm>
            <a:off x="6096000" y="4543426"/>
            <a:ext cx="2638424" cy="1495424"/>
          </a:xfrm>
        </p:spPr>
        <p:txBody>
          <a:bodyPr/>
          <a:lstStyle>
            <a:lvl1pPr algn="r">
              <a:lnSpc>
                <a:spcPct val="100000"/>
              </a:lnSpc>
              <a:defRPr sz="3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601474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L4 Pictures with headings">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318250" y="733426"/>
            <a:ext cx="2425699" cy="1495424"/>
          </a:xfrm>
        </p:spPr>
        <p:txBody>
          <a:bodyPr/>
          <a:lstStyle>
            <a:lvl1pPr algn="r">
              <a:lnSpc>
                <a:spcPct val="100000"/>
              </a:lnSpc>
              <a:defRPr sz="3600">
                <a:solidFill>
                  <a:schemeClr val="bg1"/>
                </a:solidFill>
              </a:defRPr>
            </a:lvl1pPr>
          </a:lstStyle>
          <a:p>
            <a:r>
              <a:rPr lang="en-US" dirty="0"/>
              <a:t>Click to edit Master title style</a:t>
            </a:r>
          </a:p>
        </p:txBody>
      </p:sp>
      <p:sp>
        <p:nvSpPr>
          <p:cNvPr id="4" name="Picture Placeholder 3"/>
          <p:cNvSpPr>
            <a:spLocks noGrp="1"/>
          </p:cNvSpPr>
          <p:nvPr>
            <p:ph type="pic" sz="quarter" idx="14"/>
          </p:nvPr>
        </p:nvSpPr>
        <p:spPr>
          <a:xfrm>
            <a:off x="2676426" y="-7620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50000"/>
            </a:schemeClr>
          </a:solidFill>
        </p:spPr>
        <p:txBody>
          <a:bodyPr tIns="1296000"/>
          <a:lstStyle>
            <a:lvl1pPr algn="ctr">
              <a:defRPr sz="1100" b="1">
                <a:solidFill>
                  <a:schemeClr val="bg1"/>
                </a:solidFill>
              </a:defRPr>
            </a:lvl1pPr>
          </a:lstStyle>
          <a:p>
            <a:endParaRPr lang="en-US"/>
          </a:p>
        </p:txBody>
      </p:sp>
      <p:sp>
        <p:nvSpPr>
          <p:cNvPr id="10" name="Picture Placeholder 3"/>
          <p:cNvSpPr>
            <a:spLocks noGrp="1"/>
          </p:cNvSpPr>
          <p:nvPr>
            <p:ph type="pic" sz="quarter" idx="15"/>
          </p:nvPr>
        </p:nvSpPr>
        <p:spPr>
          <a:xfrm>
            <a:off x="-44549" y="-7620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65000"/>
            </a:schemeClr>
          </a:solidFill>
        </p:spPr>
        <p:txBody>
          <a:bodyPr tIns="1296000"/>
          <a:lstStyle>
            <a:lvl1pPr algn="ctr">
              <a:defRPr sz="1100" b="1">
                <a:solidFill>
                  <a:schemeClr val="bg1"/>
                </a:solidFill>
              </a:defRPr>
            </a:lvl1pPr>
          </a:lstStyle>
          <a:p>
            <a:endParaRPr lang="en-US"/>
          </a:p>
        </p:txBody>
      </p:sp>
      <p:sp>
        <p:nvSpPr>
          <p:cNvPr id="11" name="Picture Placeholder 3"/>
          <p:cNvSpPr>
            <a:spLocks noGrp="1"/>
          </p:cNvSpPr>
          <p:nvPr>
            <p:ph type="pic" sz="quarter" idx="16"/>
          </p:nvPr>
        </p:nvSpPr>
        <p:spPr>
          <a:xfrm>
            <a:off x="4009926" y="343535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65000"/>
            </a:schemeClr>
          </a:solidFill>
        </p:spPr>
        <p:txBody>
          <a:bodyPr tIns="1296000"/>
          <a:lstStyle>
            <a:lvl1pPr algn="ctr">
              <a:defRPr sz="1100" b="1">
                <a:solidFill>
                  <a:schemeClr val="bg1"/>
                </a:solidFill>
              </a:defRPr>
            </a:lvl1pPr>
          </a:lstStyle>
          <a:p>
            <a:endParaRPr lang="en-US"/>
          </a:p>
        </p:txBody>
      </p:sp>
      <p:sp>
        <p:nvSpPr>
          <p:cNvPr id="12" name="Picture Placeholder 3"/>
          <p:cNvSpPr>
            <a:spLocks noGrp="1"/>
          </p:cNvSpPr>
          <p:nvPr>
            <p:ph type="pic" sz="quarter" idx="17"/>
          </p:nvPr>
        </p:nvSpPr>
        <p:spPr>
          <a:xfrm>
            <a:off x="1282601" y="343535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50000"/>
            </a:schemeClr>
          </a:solidFill>
        </p:spPr>
        <p:txBody>
          <a:bodyPr tIns="1296000"/>
          <a:lstStyle>
            <a:lvl1pPr algn="ctr">
              <a:defRPr sz="1100" b="1">
                <a:solidFill>
                  <a:schemeClr val="bg1"/>
                </a:solidFill>
              </a:defRPr>
            </a:lvl1pPr>
          </a:lstStyle>
          <a:p>
            <a:endParaRPr lang="en-US"/>
          </a:p>
        </p:txBody>
      </p:sp>
    </p:spTree>
    <p:extLst>
      <p:ext uri="{BB962C8B-B14F-4D97-AF65-F5344CB8AC3E}">
        <p14:creationId xmlns:p14="http://schemas.microsoft.com/office/powerpoint/2010/main" val="216570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BL4 Divider with image">
    <p:bg>
      <p:bgPr>
        <a:solidFill>
          <a:schemeClr val="accent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0" hasCustomPrompt="1"/>
          </p:nvPr>
        </p:nvSpPr>
        <p:spPr>
          <a:xfrm>
            <a:off x="5041032" y="-34440"/>
            <a:ext cx="4159250" cy="6934219"/>
          </a:xfrm>
          <a:custGeom>
            <a:avLst/>
            <a:gdLst>
              <a:gd name="connsiteX0" fmla="*/ 0 w 5842000"/>
              <a:gd name="connsiteY0" fmla="*/ 5194314 h 5194314"/>
              <a:gd name="connsiteX1" fmla="*/ 1984540 w 5842000"/>
              <a:gd name="connsiteY1" fmla="*/ 0 h 5194314"/>
              <a:gd name="connsiteX2" fmla="*/ 5842000 w 5842000"/>
              <a:gd name="connsiteY2" fmla="*/ 0 h 5194314"/>
              <a:gd name="connsiteX3" fmla="*/ 3857460 w 5842000"/>
              <a:gd name="connsiteY3" fmla="*/ 5194314 h 5194314"/>
              <a:gd name="connsiteX4" fmla="*/ 0 w 5842000"/>
              <a:gd name="connsiteY4" fmla="*/ 5194314 h 5194314"/>
              <a:gd name="connsiteX0" fmla="*/ 0 w 4159250"/>
              <a:gd name="connsiteY0" fmla="*/ 5194314 h 5194314"/>
              <a:gd name="connsiteX1" fmla="*/ 1984540 w 4159250"/>
              <a:gd name="connsiteY1" fmla="*/ 0 h 5194314"/>
              <a:gd name="connsiteX2" fmla="*/ 4159250 w 4159250"/>
              <a:gd name="connsiteY2" fmla="*/ 0 h 5194314"/>
              <a:gd name="connsiteX3" fmla="*/ 3857460 w 4159250"/>
              <a:gd name="connsiteY3" fmla="*/ 5194314 h 5194314"/>
              <a:gd name="connsiteX4" fmla="*/ 0 w 4159250"/>
              <a:gd name="connsiteY4" fmla="*/ 5194314 h 5194314"/>
              <a:gd name="connsiteX0" fmla="*/ 0 w 4159250"/>
              <a:gd name="connsiteY0" fmla="*/ 5194314 h 5200664"/>
              <a:gd name="connsiteX1" fmla="*/ 1984540 w 4159250"/>
              <a:gd name="connsiteY1" fmla="*/ 0 h 5200664"/>
              <a:gd name="connsiteX2" fmla="*/ 4159250 w 4159250"/>
              <a:gd name="connsiteY2" fmla="*/ 0 h 5200664"/>
              <a:gd name="connsiteX3" fmla="*/ 4130510 w 4159250"/>
              <a:gd name="connsiteY3" fmla="*/ 5200664 h 5200664"/>
              <a:gd name="connsiteX4" fmla="*/ 0 w 4159250"/>
              <a:gd name="connsiteY4" fmla="*/ 5194314 h 5200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9250" h="5200664">
                <a:moveTo>
                  <a:pt x="0" y="5194314"/>
                </a:moveTo>
                <a:lnTo>
                  <a:pt x="1984540" y="0"/>
                </a:lnTo>
                <a:lnTo>
                  <a:pt x="4159250" y="0"/>
                </a:lnTo>
                <a:lnTo>
                  <a:pt x="4130510" y="5200664"/>
                </a:lnTo>
                <a:lnTo>
                  <a:pt x="0" y="5194314"/>
                </a:lnTo>
                <a:close/>
              </a:path>
            </a:pathLst>
          </a:custGeom>
          <a:solidFill>
            <a:schemeClr val="bg1">
              <a:lumMod val="65000"/>
            </a:schemeClr>
          </a:solidFill>
        </p:spPr>
        <p:txBody>
          <a:bodyPr lIns="1368000" tIns="2700000" rIns="180000">
            <a:normAutofit/>
          </a:bodyPr>
          <a:lstStyle>
            <a:lvl1pPr>
              <a:defRPr sz="1200" b="1" baseline="0">
                <a:solidFill>
                  <a:schemeClr val="bg1"/>
                </a:solidFill>
              </a:defRPr>
            </a:lvl1pPr>
          </a:lstStyle>
          <a:p>
            <a:r>
              <a:rPr lang="en-AU" dirty="0"/>
              <a:t>To insert an image click on icon or leave blank</a:t>
            </a:r>
            <a:endParaRPr lang="en-US" dirty="0"/>
          </a:p>
        </p:txBody>
      </p:sp>
      <p:sp>
        <p:nvSpPr>
          <p:cNvPr id="10" name="Title 9"/>
          <p:cNvSpPr>
            <a:spLocks noGrp="1"/>
          </p:cNvSpPr>
          <p:nvPr>
            <p:ph type="title"/>
          </p:nvPr>
        </p:nvSpPr>
        <p:spPr>
          <a:xfrm>
            <a:off x="600079" y="2226733"/>
            <a:ext cx="5292723" cy="3005667"/>
          </a:xfrm>
        </p:spPr>
        <p:txBody>
          <a:bodyPr anchor="t">
            <a:noAutofit/>
          </a:bodyPr>
          <a:lstStyle>
            <a:lvl1pPr>
              <a:lnSpc>
                <a:spcPts val="3600"/>
              </a:lnSpc>
              <a:defRPr sz="3600">
                <a:solidFill>
                  <a:schemeClr val="bg1"/>
                </a:solidFill>
              </a:defRPr>
            </a:lvl1pPr>
          </a:lstStyle>
          <a:p>
            <a:r>
              <a:rPr lang="en-US" dirty="0"/>
              <a:t>Click to edit Master title style</a:t>
            </a:r>
          </a:p>
        </p:txBody>
      </p:sp>
      <p:sp>
        <p:nvSpPr>
          <p:cNvPr id="5" name="Parallelogram 4"/>
          <p:cNvSpPr/>
          <p:nvPr userDrawn="1"/>
        </p:nvSpPr>
        <p:spPr>
          <a:xfrm>
            <a:off x="593726"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658300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5 Divider with image">
    <p:bg>
      <p:bgPr>
        <a:solidFill>
          <a:schemeClr val="accent1"/>
        </a:solidFill>
        <a:effectLst/>
      </p:bgPr>
    </p:bg>
    <p:spTree>
      <p:nvGrpSpPr>
        <p:cNvPr id="1" name=""/>
        <p:cNvGrpSpPr/>
        <p:nvPr/>
      </p:nvGrpSpPr>
      <p:grpSpPr>
        <a:xfrm>
          <a:off x="0" y="0"/>
          <a:ext cx="0" cy="0"/>
          <a:chOff x="0" y="0"/>
          <a:chExt cx="0" cy="0"/>
        </a:xfrm>
      </p:grpSpPr>
      <p:sp>
        <p:nvSpPr>
          <p:cNvPr id="5" name="Parallelogram 4"/>
          <p:cNvSpPr/>
          <p:nvPr userDrawn="1"/>
        </p:nvSpPr>
        <p:spPr>
          <a:xfrm>
            <a:off x="593726"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Picture Placeholder 3"/>
          <p:cNvSpPr>
            <a:spLocks noGrp="1"/>
          </p:cNvSpPr>
          <p:nvPr>
            <p:ph type="pic" sz="quarter" idx="10"/>
          </p:nvPr>
        </p:nvSpPr>
        <p:spPr>
          <a:xfrm>
            <a:off x="3770313" y="-84138"/>
            <a:ext cx="5449887" cy="7018021"/>
          </a:xfrm>
          <a:custGeom>
            <a:avLst/>
            <a:gdLst>
              <a:gd name="connsiteX0" fmla="*/ 0 w 5449887"/>
              <a:gd name="connsiteY0" fmla="*/ 0 h 7010401"/>
              <a:gd name="connsiteX1" fmla="*/ 5449887 w 5449887"/>
              <a:gd name="connsiteY1" fmla="*/ 0 h 7010401"/>
              <a:gd name="connsiteX2" fmla="*/ 5449887 w 5449887"/>
              <a:gd name="connsiteY2" fmla="*/ 7010401 h 7010401"/>
              <a:gd name="connsiteX3" fmla="*/ 0 w 5449887"/>
              <a:gd name="connsiteY3" fmla="*/ 7010401 h 7010401"/>
              <a:gd name="connsiteX4" fmla="*/ 0 w 5449887"/>
              <a:gd name="connsiteY4" fmla="*/ 0 h 7010401"/>
              <a:gd name="connsiteX0" fmla="*/ 0 w 5449887"/>
              <a:gd name="connsiteY0" fmla="*/ 0 h 7018021"/>
              <a:gd name="connsiteX1" fmla="*/ 5449887 w 5449887"/>
              <a:gd name="connsiteY1" fmla="*/ 0 h 7018021"/>
              <a:gd name="connsiteX2" fmla="*/ 5449887 w 5449887"/>
              <a:gd name="connsiteY2" fmla="*/ 7010401 h 7018021"/>
              <a:gd name="connsiteX3" fmla="*/ 2659380 w 5449887"/>
              <a:gd name="connsiteY3" fmla="*/ 7018021 h 7018021"/>
              <a:gd name="connsiteX4" fmla="*/ 0 w 5449887"/>
              <a:gd name="connsiteY4" fmla="*/ 0 h 7018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9887" h="7018021">
                <a:moveTo>
                  <a:pt x="0" y="0"/>
                </a:moveTo>
                <a:lnTo>
                  <a:pt x="5449887" y="0"/>
                </a:lnTo>
                <a:lnTo>
                  <a:pt x="5449887" y="7010401"/>
                </a:lnTo>
                <a:lnTo>
                  <a:pt x="2659380" y="7018021"/>
                </a:lnTo>
                <a:lnTo>
                  <a:pt x="0" y="0"/>
                </a:lnTo>
                <a:close/>
              </a:path>
            </a:pathLst>
          </a:custGeom>
          <a:solidFill>
            <a:schemeClr val="bg1">
              <a:lumMod val="65000"/>
            </a:schemeClr>
          </a:solidFill>
        </p:spPr>
        <p:txBody>
          <a:bodyPr lIns="2556000" tIns="3780000"/>
          <a:lstStyle>
            <a:lvl1pPr>
              <a:defRPr sz="1400" b="1">
                <a:solidFill>
                  <a:schemeClr val="bg1"/>
                </a:solidFill>
              </a:defRPr>
            </a:lvl1pPr>
          </a:lstStyle>
          <a:p>
            <a:endParaRPr lang="en-US"/>
          </a:p>
        </p:txBody>
      </p:sp>
      <p:sp>
        <p:nvSpPr>
          <p:cNvPr id="3" name="Text Placeholder 2"/>
          <p:cNvSpPr>
            <a:spLocks noGrp="1"/>
          </p:cNvSpPr>
          <p:nvPr>
            <p:ph type="body" sz="quarter" idx="11"/>
          </p:nvPr>
        </p:nvSpPr>
        <p:spPr>
          <a:xfrm>
            <a:off x="593726" y="2600325"/>
            <a:ext cx="3759199" cy="2524126"/>
          </a:xfrm>
        </p:spPr>
        <p:txBody>
          <a:bodyPr/>
          <a:lstStyle>
            <a:lvl1pPr>
              <a:defRPr sz="3600">
                <a:solidFill>
                  <a:schemeClr val="bg1"/>
                </a:solidFill>
                <a:latin typeface="Segoe UI Light" panose="020B0502040204020203" pitchFamily="34" charset="0"/>
              </a:defRPr>
            </a:lvl1pPr>
            <a:lvl2pPr>
              <a:defRPr sz="3600">
                <a:latin typeface="Segoe UI Light" panose="020B0502040204020203" pitchFamily="34" charset="0"/>
              </a:defRPr>
            </a:lvl2pPr>
            <a:lvl3pPr>
              <a:defRPr sz="3600">
                <a:latin typeface="Segoe UI Light" panose="020B0502040204020203" pitchFamily="34" charset="0"/>
              </a:defRPr>
            </a:lvl3pPr>
            <a:lvl4pPr>
              <a:defRPr sz="3600">
                <a:latin typeface="Segoe UI Light" panose="020B0502040204020203" pitchFamily="34" charset="0"/>
              </a:defRPr>
            </a:lvl4pPr>
            <a:lvl5pPr>
              <a:defRPr sz="3600">
                <a:latin typeface="Segoe UI Light" panose="020B0502040204020203" pitchFamily="34" charset="0"/>
              </a:defRPr>
            </a:lvl5pPr>
          </a:lstStyle>
          <a:p>
            <a:pPr lvl="0"/>
            <a:r>
              <a:rPr lang="en-US" dirty="0"/>
              <a:t>Click to edit Master text styles</a:t>
            </a:r>
          </a:p>
        </p:txBody>
      </p:sp>
    </p:spTree>
    <p:extLst>
      <p:ext uri="{BB962C8B-B14F-4D97-AF65-F5344CB8AC3E}">
        <p14:creationId xmlns:p14="http://schemas.microsoft.com/office/powerpoint/2010/main" val="1576666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6 Divider with image">
    <p:bg>
      <p:bgPr>
        <a:solidFill>
          <a:schemeClr val="accent1"/>
        </a:solidFill>
        <a:effectLst/>
      </p:bgPr>
    </p:bg>
    <p:spTree>
      <p:nvGrpSpPr>
        <p:cNvPr id="1" name=""/>
        <p:cNvGrpSpPr/>
        <p:nvPr/>
      </p:nvGrpSpPr>
      <p:grpSpPr>
        <a:xfrm>
          <a:off x="0" y="0"/>
          <a:ext cx="0" cy="0"/>
          <a:chOff x="0" y="0"/>
          <a:chExt cx="0" cy="0"/>
        </a:xfrm>
      </p:grpSpPr>
      <p:sp>
        <p:nvSpPr>
          <p:cNvPr id="5" name="Parallelogram 4"/>
          <p:cNvSpPr/>
          <p:nvPr userDrawn="1"/>
        </p:nvSpPr>
        <p:spPr>
          <a:xfrm>
            <a:off x="4927601"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sp>
        <p:nvSpPr>
          <p:cNvPr id="3" name="Text Placeholder 2"/>
          <p:cNvSpPr>
            <a:spLocks noGrp="1"/>
          </p:cNvSpPr>
          <p:nvPr>
            <p:ph type="body" sz="quarter" idx="11"/>
          </p:nvPr>
        </p:nvSpPr>
        <p:spPr>
          <a:xfrm>
            <a:off x="4927601" y="2600325"/>
            <a:ext cx="3759199" cy="2524126"/>
          </a:xfrm>
        </p:spPr>
        <p:txBody>
          <a:bodyPr/>
          <a:lstStyle>
            <a:lvl1pPr>
              <a:defRPr sz="3600">
                <a:solidFill>
                  <a:schemeClr val="bg1"/>
                </a:solidFill>
                <a:latin typeface="Segoe UI Light" panose="020B0502040204020203" pitchFamily="34" charset="0"/>
              </a:defRPr>
            </a:lvl1pPr>
            <a:lvl2pPr>
              <a:defRPr sz="3600">
                <a:latin typeface="Segoe UI Light" panose="020B0502040204020203" pitchFamily="34" charset="0"/>
              </a:defRPr>
            </a:lvl2pPr>
            <a:lvl3pPr>
              <a:defRPr sz="3600">
                <a:latin typeface="Segoe UI Light" panose="020B0502040204020203" pitchFamily="34" charset="0"/>
              </a:defRPr>
            </a:lvl3pPr>
            <a:lvl4pPr>
              <a:defRPr sz="3600">
                <a:latin typeface="Segoe UI Light" panose="020B0502040204020203" pitchFamily="34" charset="0"/>
              </a:defRPr>
            </a:lvl4pPr>
            <a:lvl5pPr>
              <a:defRPr sz="3600">
                <a:latin typeface="Segoe UI Light" panose="020B0502040204020203" pitchFamily="34" charset="0"/>
              </a:defRPr>
            </a:lvl5pPr>
          </a:lstStyle>
          <a:p>
            <a:pPr lvl="0"/>
            <a:r>
              <a:rPr lang="en-US" dirty="0"/>
              <a:t>Click to edit Master text styles</a:t>
            </a:r>
          </a:p>
        </p:txBody>
      </p:sp>
      <p:sp>
        <p:nvSpPr>
          <p:cNvPr id="6" name="Picture Placeholder 5"/>
          <p:cNvSpPr>
            <a:spLocks noGrp="1"/>
          </p:cNvSpPr>
          <p:nvPr>
            <p:ph type="pic" sz="quarter" idx="12"/>
          </p:nvPr>
        </p:nvSpPr>
        <p:spPr>
          <a:xfrm>
            <a:off x="-73025" y="-57151"/>
            <a:ext cx="5575300" cy="6988317"/>
          </a:xfrm>
          <a:custGeom>
            <a:avLst/>
            <a:gdLst>
              <a:gd name="connsiteX0" fmla="*/ 0 w 3441700"/>
              <a:gd name="connsiteY0" fmla="*/ 0 h 6940692"/>
              <a:gd name="connsiteX1" fmla="*/ 3441700 w 3441700"/>
              <a:gd name="connsiteY1" fmla="*/ 0 h 6940692"/>
              <a:gd name="connsiteX2" fmla="*/ 3441700 w 3441700"/>
              <a:gd name="connsiteY2" fmla="*/ 6940692 h 6940692"/>
              <a:gd name="connsiteX3" fmla="*/ 0 w 3441700"/>
              <a:gd name="connsiteY3" fmla="*/ 6940692 h 6940692"/>
              <a:gd name="connsiteX4" fmla="*/ 0 w 3441700"/>
              <a:gd name="connsiteY4" fmla="*/ 0 h 6940692"/>
              <a:gd name="connsiteX0" fmla="*/ 0 w 3441700"/>
              <a:gd name="connsiteY0" fmla="*/ 6349 h 6947041"/>
              <a:gd name="connsiteX1" fmla="*/ 831850 w 3441700"/>
              <a:gd name="connsiteY1" fmla="*/ 0 h 6947041"/>
              <a:gd name="connsiteX2" fmla="*/ 3441700 w 3441700"/>
              <a:gd name="connsiteY2" fmla="*/ 6349 h 6947041"/>
              <a:gd name="connsiteX3" fmla="*/ 3441700 w 3441700"/>
              <a:gd name="connsiteY3" fmla="*/ 6947041 h 6947041"/>
              <a:gd name="connsiteX4" fmla="*/ 0 w 3441700"/>
              <a:gd name="connsiteY4" fmla="*/ 6947041 h 6947041"/>
              <a:gd name="connsiteX5" fmla="*/ 0 w 3441700"/>
              <a:gd name="connsiteY5" fmla="*/ 6349 h 6947041"/>
              <a:gd name="connsiteX0" fmla="*/ 0 w 3441700"/>
              <a:gd name="connsiteY0" fmla="*/ 6349 h 6947041"/>
              <a:gd name="connsiteX1" fmla="*/ 831850 w 3441700"/>
              <a:gd name="connsiteY1" fmla="*/ 0 h 6947041"/>
              <a:gd name="connsiteX2" fmla="*/ 3441700 w 3441700"/>
              <a:gd name="connsiteY2" fmla="*/ 6947041 h 6947041"/>
              <a:gd name="connsiteX3" fmla="*/ 0 w 3441700"/>
              <a:gd name="connsiteY3" fmla="*/ 6947041 h 6947041"/>
              <a:gd name="connsiteX4" fmla="*/ 0 w 3441700"/>
              <a:gd name="connsiteY4" fmla="*/ 6349 h 6947041"/>
              <a:gd name="connsiteX0" fmla="*/ 0 w 3441700"/>
              <a:gd name="connsiteY0" fmla="*/ 6349 h 6947041"/>
              <a:gd name="connsiteX1" fmla="*/ 806450 w 3441700"/>
              <a:gd name="connsiteY1" fmla="*/ 0 h 6947041"/>
              <a:gd name="connsiteX2" fmla="*/ 3441700 w 3441700"/>
              <a:gd name="connsiteY2" fmla="*/ 6947041 h 6947041"/>
              <a:gd name="connsiteX3" fmla="*/ 0 w 3441700"/>
              <a:gd name="connsiteY3" fmla="*/ 6947041 h 6947041"/>
              <a:gd name="connsiteX4" fmla="*/ 0 w 3441700"/>
              <a:gd name="connsiteY4" fmla="*/ 6349 h 6947041"/>
              <a:gd name="connsiteX0" fmla="*/ 0 w 3441700"/>
              <a:gd name="connsiteY0" fmla="*/ 0 h 6940692"/>
              <a:gd name="connsiteX1" fmla="*/ 819150 w 3441700"/>
              <a:gd name="connsiteY1" fmla="*/ 1 h 6940692"/>
              <a:gd name="connsiteX2" fmla="*/ 3441700 w 3441700"/>
              <a:gd name="connsiteY2" fmla="*/ 6940692 h 6940692"/>
              <a:gd name="connsiteX3" fmla="*/ 0 w 3441700"/>
              <a:gd name="connsiteY3" fmla="*/ 6940692 h 6940692"/>
              <a:gd name="connsiteX4" fmla="*/ 0 w 3441700"/>
              <a:gd name="connsiteY4" fmla="*/ 0 h 6940692"/>
              <a:gd name="connsiteX0" fmla="*/ 0 w 5575300"/>
              <a:gd name="connsiteY0" fmla="*/ 0 h 6959742"/>
              <a:gd name="connsiteX1" fmla="*/ 2952750 w 5575300"/>
              <a:gd name="connsiteY1" fmla="*/ 19051 h 6959742"/>
              <a:gd name="connsiteX2" fmla="*/ 5575300 w 5575300"/>
              <a:gd name="connsiteY2" fmla="*/ 6959742 h 6959742"/>
              <a:gd name="connsiteX3" fmla="*/ 2133600 w 5575300"/>
              <a:gd name="connsiteY3" fmla="*/ 6959742 h 6959742"/>
              <a:gd name="connsiteX4" fmla="*/ 0 w 5575300"/>
              <a:gd name="connsiteY4" fmla="*/ 0 h 6959742"/>
              <a:gd name="connsiteX0" fmla="*/ 0 w 5575300"/>
              <a:gd name="connsiteY0" fmla="*/ 0 h 6988317"/>
              <a:gd name="connsiteX1" fmla="*/ 2952750 w 5575300"/>
              <a:gd name="connsiteY1" fmla="*/ 19051 h 6988317"/>
              <a:gd name="connsiteX2" fmla="*/ 5575300 w 5575300"/>
              <a:gd name="connsiteY2" fmla="*/ 6959742 h 6988317"/>
              <a:gd name="connsiteX3" fmla="*/ 0 w 5575300"/>
              <a:gd name="connsiteY3" fmla="*/ 6988317 h 6988317"/>
              <a:gd name="connsiteX4" fmla="*/ 0 w 5575300"/>
              <a:gd name="connsiteY4" fmla="*/ 0 h 6988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5300" h="6988317">
                <a:moveTo>
                  <a:pt x="0" y="0"/>
                </a:moveTo>
                <a:lnTo>
                  <a:pt x="2952750" y="19051"/>
                </a:lnTo>
                <a:lnTo>
                  <a:pt x="5575300" y="6959742"/>
                </a:lnTo>
                <a:lnTo>
                  <a:pt x="0" y="6988317"/>
                </a:lnTo>
                <a:lnTo>
                  <a:pt x="0" y="0"/>
                </a:lnTo>
                <a:close/>
              </a:path>
            </a:pathLst>
          </a:custGeom>
          <a:solidFill>
            <a:schemeClr val="bg1">
              <a:lumMod val="65000"/>
            </a:schemeClr>
          </a:solidFill>
        </p:spPr>
        <p:txBody>
          <a:bodyPr lIns="216000" tIns="3060000"/>
          <a:lstStyle>
            <a:lvl1pPr algn="ctr">
              <a:defRPr sz="1400" b="1">
                <a:solidFill>
                  <a:schemeClr val="bg1"/>
                </a:solidFill>
              </a:defRPr>
            </a:lvl1pPr>
          </a:lstStyle>
          <a:p>
            <a:endParaRPr lang="en-US"/>
          </a:p>
        </p:txBody>
      </p:sp>
    </p:spTree>
    <p:extLst>
      <p:ext uri="{BB962C8B-B14F-4D97-AF65-F5344CB8AC3E}">
        <p14:creationId xmlns:p14="http://schemas.microsoft.com/office/powerpoint/2010/main" val="233178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BL7 Divider no image">
    <p:bg>
      <p:bgPr>
        <a:solidFill>
          <a:schemeClr val="accent1"/>
        </a:solid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600079" y="2226733"/>
            <a:ext cx="7896221" cy="3005667"/>
          </a:xfrm>
        </p:spPr>
        <p:txBody>
          <a:bodyPr anchor="t">
            <a:noAutofit/>
          </a:bodyPr>
          <a:lstStyle>
            <a:lvl1pPr>
              <a:lnSpc>
                <a:spcPts val="3600"/>
              </a:lnSpc>
              <a:defRPr sz="3600">
                <a:solidFill>
                  <a:schemeClr val="bg1"/>
                </a:solidFill>
              </a:defRPr>
            </a:lvl1pPr>
          </a:lstStyle>
          <a:p>
            <a:r>
              <a:rPr lang="en-US" dirty="0"/>
              <a:t>Click to edit Master title style</a:t>
            </a:r>
          </a:p>
        </p:txBody>
      </p:sp>
      <p:sp>
        <p:nvSpPr>
          <p:cNvPr id="5" name="Parallelogram 4"/>
          <p:cNvSpPr/>
          <p:nvPr userDrawn="1"/>
        </p:nvSpPr>
        <p:spPr>
          <a:xfrm>
            <a:off x="593726"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4031034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BL8 Divider with image">
    <p:bg>
      <p:bgPr>
        <a:solidFill>
          <a:schemeClr val="accent1"/>
        </a:solid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3943354" y="2226733"/>
            <a:ext cx="4600571" cy="3005667"/>
          </a:xfrm>
        </p:spPr>
        <p:txBody>
          <a:bodyPr anchor="t">
            <a:noAutofit/>
          </a:bodyPr>
          <a:lstStyle>
            <a:lvl1pPr>
              <a:lnSpc>
                <a:spcPts val="3600"/>
              </a:lnSpc>
              <a:defRPr sz="3600">
                <a:solidFill>
                  <a:schemeClr val="bg1"/>
                </a:solidFill>
              </a:defRPr>
            </a:lvl1pPr>
          </a:lstStyle>
          <a:p>
            <a:r>
              <a:rPr lang="en-US" dirty="0"/>
              <a:t>Click to edit Master title style</a:t>
            </a:r>
          </a:p>
        </p:txBody>
      </p:sp>
      <p:sp>
        <p:nvSpPr>
          <p:cNvPr id="5" name="Parallelogram 4"/>
          <p:cNvSpPr/>
          <p:nvPr userDrawn="1"/>
        </p:nvSpPr>
        <p:spPr>
          <a:xfrm>
            <a:off x="3937001"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Picture Placeholder 14"/>
          <p:cNvSpPr>
            <a:spLocks noGrp="1"/>
          </p:cNvSpPr>
          <p:nvPr>
            <p:ph type="pic" sz="quarter" idx="12"/>
          </p:nvPr>
        </p:nvSpPr>
        <p:spPr>
          <a:xfrm>
            <a:off x="-74915" y="-76200"/>
            <a:ext cx="4618340" cy="6977874"/>
          </a:xfrm>
          <a:custGeom>
            <a:avLst/>
            <a:gdLst>
              <a:gd name="connsiteX0" fmla="*/ 0 w 4618144"/>
              <a:gd name="connsiteY0" fmla="*/ 0 h 6965950"/>
              <a:gd name="connsiteX1" fmla="*/ 4618144 w 4618144"/>
              <a:gd name="connsiteY1" fmla="*/ 0 h 6965950"/>
              <a:gd name="connsiteX2" fmla="*/ 4618144 w 4618144"/>
              <a:gd name="connsiteY2" fmla="*/ 6965950 h 6965950"/>
              <a:gd name="connsiteX3" fmla="*/ 0 w 4618144"/>
              <a:gd name="connsiteY3" fmla="*/ 6965950 h 6965950"/>
              <a:gd name="connsiteX4" fmla="*/ 0 w 4618144"/>
              <a:gd name="connsiteY4" fmla="*/ 0 h 6965950"/>
              <a:gd name="connsiteX0" fmla="*/ 0 w 4618144"/>
              <a:gd name="connsiteY0" fmla="*/ 6350 h 6972300"/>
              <a:gd name="connsiteX1" fmla="*/ 1954319 w 4618144"/>
              <a:gd name="connsiteY1" fmla="*/ 0 h 6972300"/>
              <a:gd name="connsiteX2" fmla="*/ 4618144 w 4618144"/>
              <a:gd name="connsiteY2" fmla="*/ 6350 h 6972300"/>
              <a:gd name="connsiteX3" fmla="*/ 4618144 w 4618144"/>
              <a:gd name="connsiteY3" fmla="*/ 6972300 h 6972300"/>
              <a:gd name="connsiteX4" fmla="*/ 0 w 4618144"/>
              <a:gd name="connsiteY4" fmla="*/ 6972300 h 6972300"/>
              <a:gd name="connsiteX5" fmla="*/ 0 w 4618144"/>
              <a:gd name="connsiteY5" fmla="*/ 6350 h 6972300"/>
              <a:gd name="connsiteX0" fmla="*/ 0 w 4618144"/>
              <a:gd name="connsiteY0" fmla="*/ 6350 h 6972300"/>
              <a:gd name="connsiteX1" fmla="*/ 716069 w 4618144"/>
              <a:gd name="connsiteY1" fmla="*/ 0 h 6972300"/>
              <a:gd name="connsiteX2" fmla="*/ 1954319 w 4618144"/>
              <a:gd name="connsiteY2" fmla="*/ 0 h 6972300"/>
              <a:gd name="connsiteX3" fmla="*/ 4618144 w 4618144"/>
              <a:gd name="connsiteY3" fmla="*/ 6350 h 6972300"/>
              <a:gd name="connsiteX4" fmla="*/ 4618144 w 4618144"/>
              <a:gd name="connsiteY4" fmla="*/ 6972300 h 6972300"/>
              <a:gd name="connsiteX5" fmla="*/ 0 w 4618144"/>
              <a:gd name="connsiteY5" fmla="*/ 6972300 h 6972300"/>
              <a:gd name="connsiteX6" fmla="*/ 0 w 4618144"/>
              <a:gd name="connsiteY6" fmla="*/ 6350 h 6972300"/>
              <a:gd name="connsiteX0" fmla="*/ 0 w 4618144"/>
              <a:gd name="connsiteY0" fmla="*/ 6350 h 6972300"/>
              <a:gd name="connsiteX1" fmla="*/ 620819 w 4618144"/>
              <a:gd name="connsiteY1" fmla="*/ 0 h 6972300"/>
              <a:gd name="connsiteX2" fmla="*/ 716069 w 4618144"/>
              <a:gd name="connsiteY2" fmla="*/ 0 h 6972300"/>
              <a:gd name="connsiteX3" fmla="*/ 1954319 w 4618144"/>
              <a:gd name="connsiteY3" fmla="*/ 0 h 6972300"/>
              <a:gd name="connsiteX4" fmla="*/ 4618144 w 4618144"/>
              <a:gd name="connsiteY4" fmla="*/ 6350 h 6972300"/>
              <a:gd name="connsiteX5" fmla="*/ 4618144 w 4618144"/>
              <a:gd name="connsiteY5" fmla="*/ 6972300 h 6972300"/>
              <a:gd name="connsiteX6" fmla="*/ 0 w 4618144"/>
              <a:gd name="connsiteY6" fmla="*/ 6972300 h 6972300"/>
              <a:gd name="connsiteX7" fmla="*/ 0 w 4618144"/>
              <a:gd name="connsiteY7" fmla="*/ 6350 h 6972300"/>
              <a:gd name="connsiteX0" fmla="*/ 7831 w 4625975"/>
              <a:gd name="connsiteY0" fmla="*/ 6350 h 6972300"/>
              <a:gd name="connsiteX1" fmla="*/ 628650 w 4625975"/>
              <a:gd name="connsiteY1" fmla="*/ 0 h 6972300"/>
              <a:gd name="connsiteX2" fmla="*/ 723900 w 4625975"/>
              <a:gd name="connsiteY2" fmla="*/ 0 h 6972300"/>
              <a:gd name="connsiteX3" fmla="*/ 1962150 w 4625975"/>
              <a:gd name="connsiteY3" fmla="*/ 0 h 6972300"/>
              <a:gd name="connsiteX4" fmla="*/ 4625975 w 4625975"/>
              <a:gd name="connsiteY4" fmla="*/ 6350 h 6972300"/>
              <a:gd name="connsiteX5" fmla="*/ 4625975 w 4625975"/>
              <a:gd name="connsiteY5" fmla="*/ 6972300 h 6972300"/>
              <a:gd name="connsiteX6" fmla="*/ 7831 w 4625975"/>
              <a:gd name="connsiteY6" fmla="*/ 6972300 h 6972300"/>
              <a:gd name="connsiteX7" fmla="*/ 0 w 4625975"/>
              <a:gd name="connsiteY7" fmla="*/ 1625600 h 6972300"/>
              <a:gd name="connsiteX8" fmla="*/ 7831 w 4625975"/>
              <a:gd name="connsiteY8"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46555 w 4964699"/>
              <a:gd name="connsiteY6" fmla="*/ 6972300 h 6972300"/>
              <a:gd name="connsiteX7" fmla="*/ 332375 w 4964699"/>
              <a:gd name="connsiteY7" fmla="*/ 1841500 h 6972300"/>
              <a:gd name="connsiteX8" fmla="*/ 338724 w 4964699"/>
              <a:gd name="connsiteY8" fmla="*/ 1625600 h 6972300"/>
              <a:gd name="connsiteX9" fmla="*/ 346555 w 4964699"/>
              <a:gd name="connsiteY9"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2288175 w 4964699"/>
              <a:gd name="connsiteY6" fmla="*/ 6965950 h 6972300"/>
              <a:gd name="connsiteX7" fmla="*/ 346555 w 4964699"/>
              <a:gd name="connsiteY7" fmla="*/ 6972300 h 6972300"/>
              <a:gd name="connsiteX8" fmla="*/ 332375 w 4964699"/>
              <a:gd name="connsiteY8" fmla="*/ 1841500 h 6972300"/>
              <a:gd name="connsiteX9" fmla="*/ 338724 w 4964699"/>
              <a:gd name="connsiteY9" fmla="*/ 1625600 h 6972300"/>
              <a:gd name="connsiteX10" fmla="*/ 346555 w 4964699"/>
              <a:gd name="connsiteY10"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2389775 w 4964699"/>
              <a:gd name="connsiteY6" fmla="*/ 6959600 h 6972300"/>
              <a:gd name="connsiteX7" fmla="*/ 2288175 w 4964699"/>
              <a:gd name="connsiteY7" fmla="*/ 6965950 h 6972300"/>
              <a:gd name="connsiteX8" fmla="*/ 346555 w 4964699"/>
              <a:gd name="connsiteY8" fmla="*/ 6972300 h 6972300"/>
              <a:gd name="connsiteX9" fmla="*/ 332375 w 4964699"/>
              <a:gd name="connsiteY9" fmla="*/ 1841500 h 6972300"/>
              <a:gd name="connsiteX10" fmla="*/ 338724 w 4964699"/>
              <a:gd name="connsiteY10" fmla="*/ 1625600 h 6972300"/>
              <a:gd name="connsiteX11" fmla="*/ 346555 w 4964699"/>
              <a:gd name="connsiteY11"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615325 w 4964699"/>
              <a:gd name="connsiteY6" fmla="*/ 6959600 h 6972300"/>
              <a:gd name="connsiteX7" fmla="*/ 2389775 w 4964699"/>
              <a:gd name="connsiteY7" fmla="*/ 6959600 h 6972300"/>
              <a:gd name="connsiteX8" fmla="*/ 2288175 w 4964699"/>
              <a:gd name="connsiteY8" fmla="*/ 6965950 h 6972300"/>
              <a:gd name="connsiteX9" fmla="*/ 346555 w 4964699"/>
              <a:gd name="connsiteY9" fmla="*/ 6972300 h 6972300"/>
              <a:gd name="connsiteX10" fmla="*/ 332375 w 4964699"/>
              <a:gd name="connsiteY10" fmla="*/ 1841500 h 6972300"/>
              <a:gd name="connsiteX11" fmla="*/ 338724 w 4964699"/>
              <a:gd name="connsiteY11" fmla="*/ 1625600 h 6972300"/>
              <a:gd name="connsiteX12" fmla="*/ 346555 w 4964699"/>
              <a:gd name="connsiteY12"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704225 w 4964699"/>
              <a:gd name="connsiteY6" fmla="*/ 6959600 h 6972300"/>
              <a:gd name="connsiteX7" fmla="*/ 3615325 w 4964699"/>
              <a:gd name="connsiteY7" fmla="*/ 6959600 h 6972300"/>
              <a:gd name="connsiteX8" fmla="*/ 2389775 w 4964699"/>
              <a:gd name="connsiteY8" fmla="*/ 6959600 h 6972300"/>
              <a:gd name="connsiteX9" fmla="*/ 2288175 w 4964699"/>
              <a:gd name="connsiteY9" fmla="*/ 6965950 h 6972300"/>
              <a:gd name="connsiteX10" fmla="*/ 346555 w 4964699"/>
              <a:gd name="connsiteY10" fmla="*/ 6972300 h 6972300"/>
              <a:gd name="connsiteX11" fmla="*/ 332375 w 4964699"/>
              <a:gd name="connsiteY11" fmla="*/ 1841500 h 6972300"/>
              <a:gd name="connsiteX12" fmla="*/ 338724 w 4964699"/>
              <a:gd name="connsiteY12" fmla="*/ 1625600 h 6972300"/>
              <a:gd name="connsiteX13" fmla="*/ 346555 w 4964699"/>
              <a:gd name="connsiteY13" fmla="*/ 6350 h 6972300"/>
              <a:gd name="connsiteX0" fmla="*/ 346555 w 4964699"/>
              <a:gd name="connsiteY0" fmla="*/ 11113 h 6977063"/>
              <a:gd name="connsiteX1" fmla="*/ 967374 w 4964699"/>
              <a:gd name="connsiteY1" fmla="*/ 4763 h 6977063"/>
              <a:gd name="connsiteX2" fmla="*/ 1026113 w 4964699"/>
              <a:gd name="connsiteY2" fmla="*/ 0 h 6977063"/>
              <a:gd name="connsiteX3" fmla="*/ 1062624 w 4964699"/>
              <a:gd name="connsiteY3" fmla="*/ 4763 h 6977063"/>
              <a:gd name="connsiteX4" fmla="*/ 2300874 w 4964699"/>
              <a:gd name="connsiteY4" fmla="*/ 4763 h 6977063"/>
              <a:gd name="connsiteX5" fmla="*/ 4964699 w 4964699"/>
              <a:gd name="connsiteY5" fmla="*/ 11113 h 6977063"/>
              <a:gd name="connsiteX6" fmla="*/ 4964699 w 4964699"/>
              <a:gd name="connsiteY6" fmla="*/ 6977063 h 6977063"/>
              <a:gd name="connsiteX7" fmla="*/ 3704225 w 4964699"/>
              <a:gd name="connsiteY7" fmla="*/ 6964363 h 6977063"/>
              <a:gd name="connsiteX8" fmla="*/ 3615325 w 4964699"/>
              <a:gd name="connsiteY8" fmla="*/ 6964363 h 6977063"/>
              <a:gd name="connsiteX9" fmla="*/ 2389775 w 4964699"/>
              <a:gd name="connsiteY9" fmla="*/ 6964363 h 6977063"/>
              <a:gd name="connsiteX10" fmla="*/ 2288175 w 4964699"/>
              <a:gd name="connsiteY10" fmla="*/ 6970713 h 6977063"/>
              <a:gd name="connsiteX11" fmla="*/ 346555 w 4964699"/>
              <a:gd name="connsiteY11" fmla="*/ 6977063 h 6977063"/>
              <a:gd name="connsiteX12" fmla="*/ 332375 w 4964699"/>
              <a:gd name="connsiteY12" fmla="*/ 1846263 h 6977063"/>
              <a:gd name="connsiteX13" fmla="*/ 338724 w 4964699"/>
              <a:gd name="connsiteY13" fmla="*/ 1630363 h 6977063"/>
              <a:gd name="connsiteX14" fmla="*/ 346555 w 4964699"/>
              <a:gd name="connsiteY14" fmla="*/ 11113 h 6977063"/>
              <a:gd name="connsiteX0" fmla="*/ 346555 w 4964699"/>
              <a:gd name="connsiteY0" fmla="*/ 6350 h 6972300"/>
              <a:gd name="connsiteX1" fmla="*/ 967374 w 4964699"/>
              <a:gd name="connsiteY1" fmla="*/ 0 h 6972300"/>
              <a:gd name="connsiteX2" fmla="*/ 2526300 w 4964699"/>
              <a:gd name="connsiteY2" fmla="*/ 3881437 h 6972300"/>
              <a:gd name="connsiteX3" fmla="*/ 1062624 w 4964699"/>
              <a:gd name="connsiteY3" fmla="*/ 0 h 6972300"/>
              <a:gd name="connsiteX4" fmla="*/ 2300874 w 4964699"/>
              <a:gd name="connsiteY4" fmla="*/ 0 h 6972300"/>
              <a:gd name="connsiteX5" fmla="*/ 4964699 w 4964699"/>
              <a:gd name="connsiteY5" fmla="*/ 6350 h 6972300"/>
              <a:gd name="connsiteX6" fmla="*/ 4964699 w 4964699"/>
              <a:gd name="connsiteY6" fmla="*/ 6972300 h 6972300"/>
              <a:gd name="connsiteX7" fmla="*/ 3704225 w 4964699"/>
              <a:gd name="connsiteY7" fmla="*/ 6959600 h 6972300"/>
              <a:gd name="connsiteX8" fmla="*/ 3615325 w 4964699"/>
              <a:gd name="connsiteY8" fmla="*/ 6959600 h 6972300"/>
              <a:gd name="connsiteX9" fmla="*/ 2389775 w 4964699"/>
              <a:gd name="connsiteY9" fmla="*/ 6959600 h 6972300"/>
              <a:gd name="connsiteX10" fmla="*/ 2288175 w 4964699"/>
              <a:gd name="connsiteY10" fmla="*/ 6965950 h 6972300"/>
              <a:gd name="connsiteX11" fmla="*/ 346555 w 4964699"/>
              <a:gd name="connsiteY11" fmla="*/ 6972300 h 6972300"/>
              <a:gd name="connsiteX12" fmla="*/ 332375 w 4964699"/>
              <a:gd name="connsiteY12" fmla="*/ 1841500 h 6972300"/>
              <a:gd name="connsiteX13" fmla="*/ 338724 w 4964699"/>
              <a:gd name="connsiteY13" fmla="*/ 1625600 h 6972300"/>
              <a:gd name="connsiteX14" fmla="*/ 346555 w 4964699"/>
              <a:gd name="connsiteY14" fmla="*/ 6350 h 6972300"/>
              <a:gd name="connsiteX0" fmla="*/ 346555 w 4964699"/>
              <a:gd name="connsiteY0" fmla="*/ 6350 h 6972300"/>
              <a:gd name="connsiteX1" fmla="*/ 967374 w 4964699"/>
              <a:gd name="connsiteY1" fmla="*/ 0 h 6972300"/>
              <a:gd name="connsiteX2" fmla="*/ 3699780 w 4964699"/>
              <a:gd name="connsiteY2" fmla="*/ 6967537 h 6972300"/>
              <a:gd name="connsiteX3" fmla="*/ 1062624 w 4964699"/>
              <a:gd name="connsiteY3" fmla="*/ 0 h 6972300"/>
              <a:gd name="connsiteX4" fmla="*/ 2300874 w 4964699"/>
              <a:gd name="connsiteY4" fmla="*/ 0 h 6972300"/>
              <a:gd name="connsiteX5" fmla="*/ 4964699 w 4964699"/>
              <a:gd name="connsiteY5" fmla="*/ 6350 h 6972300"/>
              <a:gd name="connsiteX6" fmla="*/ 4964699 w 4964699"/>
              <a:gd name="connsiteY6" fmla="*/ 6972300 h 6972300"/>
              <a:gd name="connsiteX7" fmla="*/ 3704225 w 4964699"/>
              <a:gd name="connsiteY7" fmla="*/ 6959600 h 6972300"/>
              <a:gd name="connsiteX8" fmla="*/ 3615325 w 4964699"/>
              <a:gd name="connsiteY8" fmla="*/ 6959600 h 6972300"/>
              <a:gd name="connsiteX9" fmla="*/ 2389775 w 4964699"/>
              <a:gd name="connsiteY9" fmla="*/ 6959600 h 6972300"/>
              <a:gd name="connsiteX10" fmla="*/ 2288175 w 4964699"/>
              <a:gd name="connsiteY10" fmla="*/ 6965950 h 6972300"/>
              <a:gd name="connsiteX11" fmla="*/ 346555 w 4964699"/>
              <a:gd name="connsiteY11" fmla="*/ 6972300 h 6972300"/>
              <a:gd name="connsiteX12" fmla="*/ 332375 w 4964699"/>
              <a:gd name="connsiteY12" fmla="*/ 1841500 h 6972300"/>
              <a:gd name="connsiteX13" fmla="*/ 338724 w 4964699"/>
              <a:gd name="connsiteY13" fmla="*/ 1625600 h 6972300"/>
              <a:gd name="connsiteX14" fmla="*/ 346555 w 4964699"/>
              <a:gd name="connsiteY14" fmla="*/ 6350 h 6972300"/>
              <a:gd name="connsiteX0" fmla="*/ 346555 w 4964699"/>
              <a:gd name="connsiteY0" fmla="*/ 6350 h 6972300"/>
              <a:gd name="connsiteX1" fmla="*/ 967374 w 4964699"/>
              <a:gd name="connsiteY1" fmla="*/ 0 h 6972300"/>
              <a:gd name="connsiteX2" fmla="*/ 2684415 w 4964699"/>
              <a:gd name="connsiteY2" fmla="*/ 438150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615325 w 4964699"/>
              <a:gd name="connsiteY9" fmla="*/ 695960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346555 w 4964699"/>
              <a:gd name="connsiteY0" fmla="*/ 6350 h 6972300"/>
              <a:gd name="connsiteX1" fmla="*/ 967374 w 4964699"/>
              <a:gd name="connsiteY1" fmla="*/ 0 h 6972300"/>
              <a:gd name="connsiteX2" fmla="*/ 3621675 w 4964699"/>
              <a:gd name="connsiteY2" fmla="*/ 695706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615325 w 4964699"/>
              <a:gd name="connsiteY9" fmla="*/ 695960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346555 w 4964699"/>
              <a:gd name="connsiteY0" fmla="*/ 6350 h 6972300"/>
              <a:gd name="connsiteX1" fmla="*/ 967374 w 4964699"/>
              <a:gd name="connsiteY1" fmla="*/ 0 h 6972300"/>
              <a:gd name="connsiteX2" fmla="*/ 3621675 w 4964699"/>
              <a:gd name="connsiteY2" fmla="*/ 695706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592465 w 4964699"/>
              <a:gd name="connsiteY9" fmla="*/ 695198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154847 w 4772991"/>
              <a:gd name="connsiteY0" fmla="*/ 6350 h 6972300"/>
              <a:gd name="connsiteX1" fmla="*/ 775666 w 4772991"/>
              <a:gd name="connsiteY1" fmla="*/ 0 h 6972300"/>
              <a:gd name="connsiteX2" fmla="*/ 3429967 w 4772991"/>
              <a:gd name="connsiteY2" fmla="*/ 6957060 h 6972300"/>
              <a:gd name="connsiteX3" fmla="*/ 3508072 w 4772991"/>
              <a:gd name="connsiteY3" fmla="*/ 6967537 h 6972300"/>
              <a:gd name="connsiteX4" fmla="*/ 870916 w 4772991"/>
              <a:gd name="connsiteY4" fmla="*/ 0 h 6972300"/>
              <a:gd name="connsiteX5" fmla="*/ 2109166 w 4772991"/>
              <a:gd name="connsiteY5" fmla="*/ 0 h 6972300"/>
              <a:gd name="connsiteX6" fmla="*/ 4772991 w 4772991"/>
              <a:gd name="connsiteY6" fmla="*/ 6350 h 6972300"/>
              <a:gd name="connsiteX7" fmla="*/ 4772991 w 4772991"/>
              <a:gd name="connsiteY7" fmla="*/ 6972300 h 6972300"/>
              <a:gd name="connsiteX8" fmla="*/ 3512517 w 4772991"/>
              <a:gd name="connsiteY8" fmla="*/ 6959600 h 6972300"/>
              <a:gd name="connsiteX9" fmla="*/ 3400757 w 4772991"/>
              <a:gd name="connsiteY9" fmla="*/ 6951980 h 6972300"/>
              <a:gd name="connsiteX10" fmla="*/ 2198067 w 4772991"/>
              <a:gd name="connsiteY10" fmla="*/ 6959600 h 6972300"/>
              <a:gd name="connsiteX11" fmla="*/ 2096467 w 4772991"/>
              <a:gd name="connsiteY11" fmla="*/ 6965950 h 6972300"/>
              <a:gd name="connsiteX12" fmla="*/ 154847 w 4772991"/>
              <a:gd name="connsiteY12" fmla="*/ 6972300 h 6972300"/>
              <a:gd name="connsiteX13" fmla="*/ 121617 w 4772991"/>
              <a:gd name="connsiteY13" fmla="*/ 1974850 h 6972300"/>
              <a:gd name="connsiteX14" fmla="*/ 140667 w 4772991"/>
              <a:gd name="connsiteY14" fmla="*/ 1841500 h 6972300"/>
              <a:gd name="connsiteX15" fmla="*/ 147016 w 4772991"/>
              <a:gd name="connsiteY15" fmla="*/ 1625600 h 6972300"/>
              <a:gd name="connsiteX16" fmla="*/ 154847 w 4772991"/>
              <a:gd name="connsiteY16"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123157 w 4774531"/>
              <a:gd name="connsiteY14" fmla="*/ 1974850 h 6972300"/>
              <a:gd name="connsiteX15" fmla="*/ 142207 w 4774531"/>
              <a:gd name="connsiteY15" fmla="*/ 1841500 h 6972300"/>
              <a:gd name="connsiteX16" fmla="*/ 148556 w 4774531"/>
              <a:gd name="connsiteY16" fmla="*/ 1625600 h 6972300"/>
              <a:gd name="connsiteX17" fmla="*/ 156387 w 4774531"/>
              <a:gd name="connsiteY17"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123157 w 4774531"/>
              <a:gd name="connsiteY14" fmla="*/ 1974850 h 6972300"/>
              <a:gd name="connsiteX15" fmla="*/ 525589 w 4774531"/>
              <a:gd name="connsiteY15" fmla="*/ 1889125 h 6972300"/>
              <a:gd name="connsiteX16" fmla="*/ 148556 w 4774531"/>
              <a:gd name="connsiteY16" fmla="*/ 1625600 h 6972300"/>
              <a:gd name="connsiteX17" fmla="*/ 156387 w 4774531"/>
              <a:gd name="connsiteY17"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430338 w 4774531"/>
              <a:gd name="connsiteY14" fmla="*/ 2432050 h 6972300"/>
              <a:gd name="connsiteX15" fmla="*/ 525589 w 4774531"/>
              <a:gd name="connsiteY15" fmla="*/ 1889125 h 6972300"/>
              <a:gd name="connsiteX16" fmla="*/ 148556 w 4774531"/>
              <a:gd name="connsiteY16" fmla="*/ 1625600 h 6972300"/>
              <a:gd name="connsiteX17" fmla="*/ 156387 w 4774531"/>
              <a:gd name="connsiteY17" fmla="*/ 6350 h 6972300"/>
              <a:gd name="connsiteX0" fmla="*/ 146526 w 4764670"/>
              <a:gd name="connsiteY0" fmla="*/ 6350 h 6972300"/>
              <a:gd name="connsiteX1" fmla="*/ 767345 w 4764670"/>
              <a:gd name="connsiteY1" fmla="*/ 0 h 6972300"/>
              <a:gd name="connsiteX2" fmla="*/ 3421646 w 4764670"/>
              <a:gd name="connsiteY2" fmla="*/ 6957060 h 6972300"/>
              <a:gd name="connsiteX3" fmla="*/ 3499751 w 4764670"/>
              <a:gd name="connsiteY3" fmla="*/ 6967537 h 6972300"/>
              <a:gd name="connsiteX4" fmla="*/ 862595 w 4764670"/>
              <a:gd name="connsiteY4" fmla="*/ 0 h 6972300"/>
              <a:gd name="connsiteX5" fmla="*/ 2100845 w 4764670"/>
              <a:gd name="connsiteY5" fmla="*/ 0 h 6972300"/>
              <a:gd name="connsiteX6" fmla="*/ 4764670 w 4764670"/>
              <a:gd name="connsiteY6" fmla="*/ 6350 h 6972300"/>
              <a:gd name="connsiteX7" fmla="*/ 4764670 w 4764670"/>
              <a:gd name="connsiteY7" fmla="*/ 6972300 h 6972300"/>
              <a:gd name="connsiteX8" fmla="*/ 3504196 w 4764670"/>
              <a:gd name="connsiteY8" fmla="*/ 6959600 h 6972300"/>
              <a:gd name="connsiteX9" fmla="*/ 3392436 w 4764670"/>
              <a:gd name="connsiteY9" fmla="*/ 6951980 h 6972300"/>
              <a:gd name="connsiteX10" fmla="*/ 2189746 w 4764670"/>
              <a:gd name="connsiteY10" fmla="*/ 6959600 h 6972300"/>
              <a:gd name="connsiteX11" fmla="*/ 2088146 w 4764670"/>
              <a:gd name="connsiteY11" fmla="*/ 6965950 h 6972300"/>
              <a:gd name="connsiteX12" fmla="*/ 146526 w 4764670"/>
              <a:gd name="connsiteY12" fmla="*/ 6972300 h 6972300"/>
              <a:gd name="connsiteX13" fmla="*/ 142665 w 4764670"/>
              <a:gd name="connsiteY13" fmla="*/ 2000250 h 6972300"/>
              <a:gd name="connsiteX14" fmla="*/ 420477 w 4764670"/>
              <a:gd name="connsiteY14" fmla="*/ 2432050 h 6972300"/>
              <a:gd name="connsiteX15" fmla="*/ 515728 w 4764670"/>
              <a:gd name="connsiteY15" fmla="*/ 1889125 h 6972300"/>
              <a:gd name="connsiteX16" fmla="*/ 138695 w 4764670"/>
              <a:gd name="connsiteY16" fmla="*/ 1625600 h 6972300"/>
              <a:gd name="connsiteX17" fmla="*/ 146526 w 4764670"/>
              <a:gd name="connsiteY17" fmla="*/ 6350 h 6972300"/>
              <a:gd name="connsiteX0" fmla="*/ 146526 w 4764670"/>
              <a:gd name="connsiteY0" fmla="*/ 6350 h 6972300"/>
              <a:gd name="connsiteX1" fmla="*/ 767345 w 4764670"/>
              <a:gd name="connsiteY1" fmla="*/ 0 h 6972300"/>
              <a:gd name="connsiteX2" fmla="*/ 3421646 w 4764670"/>
              <a:gd name="connsiteY2" fmla="*/ 6957060 h 6972300"/>
              <a:gd name="connsiteX3" fmla="*/ 3499751 w 4764670"/>
              <a:gd name="connsiteY3" fmla="*/ 6967537 h 6972300"/>
              <a:gd name="connsiteX4" fmla="*/ 862595 w 4764670"/>
              <a:gd name="connsiteY4" fmla="*/ 0 h 6972300"/>
              <a:gd name="connsiteX5" fmla="*/ 2100845 w 4764670"/>
              <a:gd name="connsiteY5" fmla="*/ 0 h 6972300"/>
              <a:gd name="connsiteX6" fmla="*/ 4764670 w 4764670"/>
              <a:gd name="connsiteY6" fmla="*/ 6350 h 6972300"/>
              <a:gd name="connsiteX7" fmla="*/ 4764670 w 4764670"/>
              <a:gd name="connsiteY7" fmla="*/ 6972300 h 6972300"/>
              <a:gd name="connsiteX8" fmla="*/ 3504196 w 4764670"/>
              <a:gd name="connsiteY8" fmla="*/ 6959600 h 6972300"/>
              <a:gd name="connsiteX9" fmla="*/ 3392436 w 4764670"/>
              <a:gd name="connsiteY9" fmla="*/ 6951980 h 6972300"/>
              <a:gd name="connsiteX10" fmla="*/ 2189746 w 4764670"/>
              <a:gd name="connsiteY10" fmla="*/ 6959600 h 6972300"/>
              <a:gd name="connsiteX11" fmla="*/ 2088146 w 4764670"/>
              <a:gd name="connsiteY11" fmla="*/ 6965950 h 6972300"/>
              <a:gd name="connsiteX12" fmla="*/ 146526 w 4764670"/>
              <a:gd name="connsiteY12" fmla="*/ 6972300 h 6972300"/>
              <a:gd name="connsiteX13" fmla="*/ 142665 w 4764670"/>
              <a:gd name="connsiteY13" fmla="*/ 2000250 h 6972300"/>
              <a:gd name="connsiteX14" fmla="*/ 420477 w 4764670"/>
              <a:gd name="connsiteY14" fmla="*/ 2432050 h 6972300"/>
              <a:gd name="connsiteX15" fmla="*/ 515728 w 4764670"/>
              <a:gd name="connsiteY15" fmla="*/ 1889125 h 6972300"/>
              <a:gd name="connsiteX16" fmla="*/ 138695 w 4764670"/>
              <a:gd name="connsiteY16" fmla="*/ 1625600 h 6972300"/>
              <a:gd name="connsiteX17" fmla="*/ 146526 w 476467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411767 w 4755960"/>
              <a:gd name="connsiteY14" fmla="*/ 2432050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1545242 w 4755960"/>
              <a:gd name="connsiteY14" fmla="*/ 5541962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2078642 w 4755960"/>
              <a:gd name="connsiteY14" fmla="*/ 6970712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29985 w 4755960"/>
              <a:gd name="connsiteY16" fmla="*/ 1625600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44272 w 4755960"/>
              <a:gd name="connsiteY16" fmla="*/ 1616076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44272 w 4755960"/>
              <a:gd name="connsiteY16" fmla="*/ 1616076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29985 w 4755960"/>
              <a:gd name="connsiteY16" fmla="*/ 1630363 h 6977874"/>
              <a:gd name="connsiteX17" fmla="*/ 137816 w 4755960"/>
              <a:gd name="connsiteY17" fmla="*/ 6350 h 6977874"/>
              <a:gd name="connsiteX0" fmla="*/ 142330 w 4760474"/>
              <a:gd name="connsiteY0" fmla="*/ 6350 h 6977874"/>
              <a:gd name="connsiteX1" fmla="*/ 763149 w 4760474"/>
              <a:gd name="connsiteY1" fmla="*/ 0 h 6977874"/>
              <a:gd name="connsiteX2" fmla="*/ 3417450 w 4760474"/>
              <a:gd name="connsiteY2" fmla="*/ 6957060 h 6977874"/>
              <a:gd name="connsiteX3" fmla="*/ 3495555 w 4760474"/>
              <a:gd name="connsiteY3" fmla="*/ 6967537 h 6977874"/>
              <a:gd name="connsiteX4" fmla="*/ 858399 w 4760474"/>
              <a:gd name="connsiteY4" fmla="*/ 0 h 6977874"/>
              <a:gd name="connsiteX5" fmla="*/ 2096649 w 4760474"/>
              <a:gd name="connsiteY5" fmla="*/ 0 h 6977874"/>
              <a:gd name="connsiteX6" fmla="*/ 4760474 w 4760474"/>
              <a:gd name="connsiteY6" fmla="*/ 6350 h 6977874"/>
              <a:gd name="connsiteX7" fmla="*/ 4760474 w 4760474"/>
              <a:gd name="connsiteY7" fmla="*/ 6972300 h 6977874"/>
              <a:gd name="connsiteX8" fmla="*/ 3500000 w 4760474"/>
              <a:gd name="connsiteY8" fmla="*/ 6959600 h 6977874"/>
              <a:gd name="connsiteX9" fmla="*/ 3388240 w 4760474"/>
              <a:gd name="connsiteY9" fmla="*/ 6951980 h 6977874"/>
              <a:gd name="connsiteX10" fmla="*/ 2185550 w 4760474"/>
              <a:gd name="connsiteY10" fmla="*/ 6959600 h 6977874"/>
              <a:gd name="connsiteX11" fmla="*/ 2083950 w 4760474"/>
              <a:gd name="connsiteY11" fmla="*/ 6965950 h 6977874"/>
              <a:gd name="connsiteX12" fmla="*/ 142330 w 4760474"/>
              <a:gd name="connsiteY12" fmla="*/ 6972300 h 6977874"/>
              <a:gd name="connsiteX13" fmla="*/ 155138 w 4760474"/>
              <a:gd name="connsiteY13" fmla="*/ 1883569 h 6977874"/>
              <a:gd name="connsiteX14" fmla="*/ 2083156 w 4760474"/>
              <a:gd name="connsiteY14" fmla="*/ 6970712 h 6977874"/>
              <a:gd name="connsiteX15" fmla="*/ 2183170 w 4760474"/>
              <a:gd name="connsiteY15" fmla="*/ 6956425 h 6977874"/>
              <a:gd name="connsiteX16" fmla="*/ 134499 w 4760474"/>
              <a:gd name="connsiteY16" fmla="*/ 1630363 h 6977874"/>
              <a:gd name="connsiteX17" fmla="*/ 142330 w 4760474"/>
              <a:gd name="connsiteY17" fmla="*/ 6350 h 6977874"/>
              <a:gd name="connsiteX0" fmla="*/ 144363 w 4762507"/>
              <a:gd name="connsiteY0" fmla="*/ 6350 h 6977874"/>
              <a:gd name="connsiteX1" fmla="*/ 765182 w 4762507"/>
              <a:gd name="connsiteY1" fmla="*/ 0 h 6977874"/>
              <a:gd name="connsiteX2" fmla="*/ 3419483 w 4762507"/>
              <a:gd name="connsiteY2" fmla="*/ 6957060 h 6977874"/>
              <a:gd name="connsiteX3" fmla="*/ 3497588 w 4762507"/>
              <a:gd name="connsiteY3" fmla="*/ 6967537 h 6977874"/>
              <a:gd name="connsiteX4" fmla="*/ 860432 w 4762507"/>
              <a:gd name="connsiteY4" fmla="*/ 0 h 6977874"/>
              <a:gd name="connsiteX5" fmla="*/ 2098682 w 4762507"/>
              <a:gd name="connsiteY5" fmla="*/ 0 h 6977874"/>
              <a:gd name="connsiteX6" fmla="*/ 4762507 w 4762507"/>
              <a:gd name="connsiteY6" fmla="*/ 6350 h 6977874"/>
              <a:gd name="connsiteX7" fmla="*/ 4762507 w 4762507"/>
              <a:gd name="connsiteY7" fmla="*/ 6972300 h 6977874"/>
              <a:gd name="connsiteX8" fmla="*/ 3502033 w 4762507"/>
              <a:gd name="connsiteY8" fmla="*/ 6959600 h 6977874"/>
              <a:gd name="connsiteX9" fmla="*/ 3390273 w 4762507"/>
              <a:gd name="connsiteY9" fmla="*/ 6951980 h 6977874"/>
              <a:gd name="connsiteX10" fmla="*/ 2187583 w 4762507"/>
              <a:gd name="connsiteY10" fmla="*/ 6959600 h 6977874"/>
              <a:gd name="connsiteX11" fmla="*/ 2085983 w 4762507"/>
              <a:gd name="connsiteY11" fmla="*/ 6965950 h 6977874"/>
              <a:gd name="connsiteX12" fmla="*/ 144363 w 4762507"/>
              <a:gd name="connsiteY12" fmla="*/ 6972300 h 6977874"/>
              <a:gd name="connsiteX13" fmla="*/ 157171 w 4762507"/>
              <a:gd name="connsiteY13" fmla="*/ 1883569 h 6977874"/>
              <a:gd name="connsiteX14" fmla="*/ 2085189 w 4762507"/>
              <a:gd name="connsiteY14" fmla="*/ 6970712 h 6977874"/>
              <a:gd name="connsiteX15" fmla="*/ 2185203 w 4762507"/>
              <a:gd name="connsiteY15" fmla="*/ 6956425 h 6977874"/>
              <a:gd name="connsiteX16" fmla="*/ 136532 w 4762507"/>
              <a:gd name="connsiteY16" fmla="*/ 1630363 h 6977874"/>
              <a:gd name="connsiteX17" fmla="*/ 144363 w 4762507"/>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8220 w 4626364"/>
              <a:gd name="connsiteY12" fmla="*/ 6972300 h 6977874"/>
              <a:gd name="connsiteX13" fmla="*/ 21028 w 4626364"/>
              <a:gd name="connsiteY13" fmla="*/ 188356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46320 w 4626364"/>
              <a:gd name="connsiteY12" fmla="*/ 6965950 h 6977874"/>
              <a:gd name="connsiteX13" fmla="*/ 21028 w 4626364"/>
              <a:gd name="connsiteY13" fmla="*/ 188356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46320 w 4626364"/>
              <a:gd name="connsiteY12" fmla="*/ 6965950 h 6977874"/>
              <a:gd name="connsiteX13" fmla="*/ 40078 w 4626364"/>
              <a:gd name="connsiteY13" fmla="*/ 194071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350 h 6977874"/>
              <a:gd name="connsiteX7" fmla="*/ 4618340 w 4618340"/>
              <a:gd name="connsiteY7" fmla="*/ 6972300 h 6977874"/>
              <a:gd name="connsiteX8" fmla="*/ 3357866 w 4618340"/>
              <a:gd name="connsiteY8" fmla="*/ 6959600 h 6977874"/>
              <a:gd name="connsiteX9" fmla="*/ 3246106 w 4618340"/>
              <a:gd name="connsiteY9" fmla="*/ 6951980 h 6977874"/>
              <a:gd name="connsiteX10" fmla="*/ 2043416 w 4618340"/>
              <a:gd name="connsiteY10" fmla="*/ 6959600 h 6977874"/>
              <a:gd name="connsiteX11" fmla="*/ 1941816 w 4618340"/>
              <a:gd name="connsiteY11" fmla="*/ 6965950 h 6977874"/>
              <a:gd name="connsiteX12" fmla="*/ 38296 w 4618340"/>
              <a:gd name="connsiteY12" fmla="*/ 6965950 h 6977874"/>
              <a:gd name="connsiteX13" fmla="*/ 32054 w 4618340"/>
              <a:gd name="connsiteY13" fmla="*/ 1940719 h 6977874"/>
              <a:gd name="connsiteX14" fmla="*/ 1941022 w 4618340"/>
              <a:gd name="connsiteY14" fmla="*/ 6970712 h 6977874"/>
              <a:gd name="connsiteX15" fmla="*/ 2041036 w 4618340"/>
              <a:gd name="connsiteY15" fmla="*/ 6956425 h 6977874"/>
              <a:gd name="connsiteX16" fmla="*/ 24115 w 4618340"/>
              <a:gd name="connsiteY16" fmla="*/ 1712913 h 6977874"/>
              <a:gd name="connsiteX17" fmla="*/ 196 w 4618340"/>
              <a:gd name="connsiteY17"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4102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6007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7912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8340" h="6977874">
                <a:moveTo>
                  <a:pt x="196" y="6350"/>
                </a:moveTo>
                <a:lnTo>
                  <a:pt x="621015" y="0"/>
                </a:lnTo>
                <a:lnTo>
                  <a:pt x="3275316" y="6957060"/>
                </a:lnTo>
                <a:lnTo>
                  <a:pt x="3353421" y="6967537"/>
                </a:lnTo>
                <a:lnTo>
                  <a:pt x="716265" y="0"/>
                </a:lnTo>
                <a:lnTo>
                  <a:pt x="1954515" y="0"/>
                </a:lnTo>
                <a:lnTo>
                  <a:pt x="4618340" y="6972300"/>
                </a:lnTo>
                <a:lnTo>
                  <a:pt x="3357866" y="6959600"/>
                </a:lnTo>
                <a:lnTo>
                  <a:pt x="3246106" y="6951980"/>
                </a:lnTo>
                <a:lnTo>
                  <a:pt x="2043416" y="6959600"/>
                </a:lnTo>
                <a:lnTo>
                  <a:pt x="1941816" y="6965950"/>
                </a:lnTo>
                <a:lnTo>
                  <a:pt x="38296" y="6965950"/>
                </a:lnTo>
                <a:cubicBezTo>
                  <a:pt x="44646" y="6792383"/>
                  <a:pt x="28067" y="1949714"/>
                  <a:pt x="32054" y="1940719"/>
                </a:cubicBezTo>
                <a:cubicBezTo>
                  <a:pt x="36041" y="1946011"/>
                  <a:pt x="1974889" y="7009870"/>
                  <a:pt x="1979122" y="6970712"/>
                </a:cubicBezTo>
                <a:cubicBezTo>
                  <a:pt x="1983355" y="6931554"/>
                  <a:pt x="2036803" y="7014633"/>
                  <a:pt x="2041036" y="6956425"/>
                </a:cubicBezTo>
                <a:cubicBezTo>
                  <a:pt x="2045269" y="6898217"/>
                  <a:pt x="16989" y="1718734"/>
                  <a:pt x="24115" y="1712913"/>
                </a:cubicBezTo>
                <a:cubicBezTo>
                  <a:pt x="21963" y="1716088"/>
                  <a:pt x="-2414" y="546100"/>
                  <a:pt x="196" y="6350"/>
                </a:cubicBezTo>
                <a:close/>
              </a:path>
            </a:pathLst>
          </a:custGeom>
          <a:solidFill>
            <a:schemeClr val="bg1">
              <a:lumMod val="65000"/>
            </a:schemeClr>
          </a:solidFill>
        </p:spPr>
        <p:txBody>
          <a:bodyPr lIns="684000" tIns="3096000"/>
          <a:lstStyle>
            <a:lvl1pPr>
              <a:defRPr sz="1200" b="1">
                <a:solidFill>
                  <a:schemeClr val="bg1"/>
                </a:solidFill>
              </a:defRPr>
            </a:lvl1pPr>
          </a:lstStyle>
          <a:p>
            <a:endParaRPr lang="en-US" dirty="0"/>
          </a:p>
        </p:txBody>
      </p:sp>
    </p:spTree>
    <p:extLst>
      <p:ext uri="{BB962C8B-B14F-4D97-AF65-F5344CB8AC3E}">
        <p14:creationId xmlns:p14="http://schemas.microsoft.com/office/powerpoint/2010/main" val="2416196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P1 Pictures with headings">
    <p:bg>
      <p:bgPr>
        <a:solidFill>
          <a:schemeClr val="accent2"/>
        </a:solidFill>
        <a:effectLst/>
      </p:bgPr>
    </p:bg>
    <p:spTree>
      <p:nvGrpSpPr>
        <p:cNvPr id="1" name=""/>
        <p:cNvGrpSpPr/>
        <p:nvPr/>
      </p:nvGrpSpPr>
      <p:grpSpPr>
        <a:xfrm>
          <a:off x="0" y="0"/>
          <a:ext cx="0" cy="0"/>
          <a:chOff x="0" y="0"/>
          <a:chExt cx="0" cy="0"/>
        </a:xfrm>
      </p:grpSpPr>
      <p:sp>
        <p:nvSpPr>
          <p:cNvPr id="30" name="Picture Placeholder 26"/>
          <p:cNvSpPr>
            <a:spLocks noGrp="1"/>
          </p:cNvSpPr>
          <p:nvPr>
            <p:ph type="pic" sz="quarter" idx="13"/>
          </p:nvPr>
        </p:nvSpPr>
        <p:spPr>
          <a:xfrm>
            <a:off x="-771525" y="346559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3" name="Picture Placeholder 26"/>
          <p:cNvSpPr>
            <a:spLocks noGrp="1"/>
          </p:cNvSpPr>
          <p:nvPr>
            <p:ph type="pic" sz="quarter" idx="16"/>
          </p:nvPr>
        </p:nvSpPr>
        <p:spPr>
          <a:xfrm>
            <a:off x="552450" y="-12927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18" name="Text Placeholder 36"/>
          <p:cNvSpPr>
            <a:spLocks noGrp="1"/>
          </p:cNvSpPr>
          <p:nvPr>
            <p:ph type="body" sz="quarter" idx="25"/>
          </p:nvPr>
        </p:nvSpPr>
        <p:spPr>
          <a:xfrm>
            <a:off x="545306" y="287660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5" name="Text Placeholder 36"/>
          <p:cNvSpPr>
            <a:spLocks noGrp="1"/>
          </p:cNvSpPr>
          <p:nvPr>
            <p:ph type="body" sz="quarter" idx="26"/>
          </p:nvPr>
        </p:nvSpPr>
        <p:spPr>
          <a:xfrm>
            <a:off x="321469" y="347747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9" name="Picture Placeholder 26"/>
          <p:cNvSpPr>
            <a:spLocks noGrp="1"/>
          </p:cNvSpPr>
          <p:nvPr>
            <p:ph type="pic" sz="quarter" idx="27"/>
          </p:nvPr>
        </p:nvSpPr>
        <p:spPr>
          <a:xfrm>
            <a:off x="1872615" y="346559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6" name="Picture Placeholder 26"/>
          <p:cNvSpPr>
            <a:spLocks noGrp="1"/>
          </p:cNvSpPr>
          <p:nvPr>
            <p:ph type="pic" sz="quarter" idx="28"/>
          </p:nvPr>
        </p:nvSpPr>
        <p:spPr>
          <a:xfrm>
            <a:off x="3196590" y="-12927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43" name="Text Placeholder 36"/>
          <p:cNvSpPr>
            <a:spLocks noGrp="1"/>
          </p:cNvSpPr>
          <p:nvPr>
            <p:ph type="body" sz="quarter" idx="29"/>
          </p:nvPr>
        </p:nvSpPr>
        <p:spPr>
          <a:xfrm>
            <a:off x="3189446" y="287660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4" name="Text Placeholder 36"/>
          <p:cNvSpPr>
            <a:spLocks noGrp="1"/>
          </p:cNvSpPr>
          <p:nvPr>
            <p:ph type="body" sz="quarter" idx="30"/>
          </p:nvPr>
        </p:nvSpPr>
        <p:spPr>
          <a:xfrm>
            <a:off x="2965609" y="347747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5" name="Picture Placeholder 26"/>
          <p:cNvSpPr>
            <a:spLocks noGrp="1"/>
          </p:cNvSpPr>
          <p:nvPr>
            <p:ph type="pic" sz="quarter" idx="31"/>
          </p:nvPr>
        </p:nvSpPr>
        <p:spPr>
          <a:xfrm>
            <a:off x="4509136" y="3465595"/>
            <a:ext cx="3987164"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46" name="Picture Placeholder 26"/>
          <p:cNvSpPr>
            <a:spLocks noGrp="1"/>
          </p:cNvSpPr>
          <p:nvPr>
            <p:ph type="pic" sz="quarter" idx="32"/>
          </p:nvPr>
        </p:nvSpPr>
        <p:spPr>
          <a:xfrm>
            <a:off x="5833110" y="-129275"/>
            <a:ext cx="3977640"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47" name="Text Placeholder 36"/>
          <p:cNvSpPr>
            <a:spLocks noGrp="1"/>
          </p:cNvSpPr>
          <p:nvPr>
            <p:ph type="body" sz="quarter" idx="33"/>
          </p:nvPr>
        </p:nvSpPr>
        <p:spPr>
          <a:xfrm>
            <a:off x="5831790" y="287660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8" name="Text Placeholder 36"/>
          <p:cNvSpPr>
            <a:spLocks noGrp="1"/>
          </p:cNvSpPr>
          <p:nvPr>
            <p:ph type="body" sz="quarter" idx="34"/>
          </p:nvPr>
        </p:nvSpPr>
        <p:spPr>
          <a:xfrm>
            <a:off x="5607953" y="347747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767120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P2 Pictures with headings">
    <p:bg>
      <p:bgPr>
        <a:solidFill>
          <a:schemeClr val="accent2"/>
        </a:solidFill>
        <a:effectLst/>
      </p:bgPr>
    </p:bg>
    <p:spTree>
      <p:nvGrpSpPr>
        <p:cNvPr id="1" name=""/>
        <p:cNvGrpSpPr/>
        <p:nvPr/>
      </p:nvGrpSpPr>
      <p:grpSpPr>
        <a:xfrm>
          <a:off x="0" y="0"/>
          <a:ext cx="0" cy="0"/>
          <a:chOff x="0" y="0"/>
          <a:chExt cx="0" cy="0"/>
        </a:xfrm>
      </p:grpSpPr>
      <p:sp>
        <p:nvSpPr>
          <p:cNvPr id="30" name="Picture Placeholder 26"/>
          <p:cNvSpPr>
            <a:spLocks noGrp="1"/>
          </p:cNvSpPr>
          <p:nvPr>
            <p:ph type="pic" sz="quarter" idx="13"/>
          </p:nvPr>
        </p:nvSpPr>
        <p:spPr>
          <a:xfrm>
            <a:off x="-771525" y="346559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1" name="Picture Placeholder 26"/>
          <p:cNvSpPr>
            <a:spLocks noGrp="1"/>
          </p:cNvSpPr>
          <p:nvPr>
            <p:ph type="pic" sz="quarter" idx="14"/>
          </p:nvPr>
        </p:nvSpPr>
        <p:spPr>
          <a:xfrm>
            <a:off x="1899779" y="346559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2" name="Picture Placeholder 26"/>
          <p:cNvSpPr>
            <a:spLocks noGrp="1"/>
          </p:cNvSpPr>
          <p:nvPr>
            <p:ph type="pic" sz="quarter" idx="15"/>
          </p:nvPr>
        </p:nvSpPr>
        <p:spPr>
          <a:xfrm>
            <a:off x="4580608" y="346559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3" name="Picture Placeholder 26"/>
          <p:cNvSpPr>
            <a:spLocks noGrp="1"/>
          </p:cNvSpPr>
          <p:nvPr>
            <p:ph type="pic" sz="quarter" idx="16"/>
          </p:nvPr>
        </p:nvSpPr>
        <p:spPr>
          <a:xfrm>
            <a:off x="552450" y="-12927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4" name="Picture Placeholder 26"/>
          <p:cNvSpPr>
            <a:spLocks noGrp="1"/>
          </p:cNvSpPr>
          <p:nvPr>
            <p:ph type="pic" sz="quarter" idx="17"/>
          </p:nvPr>
        </p:nvSpPr>
        <p:spPr>
          <a:xfrm>
            <a:off x="3223754" y="-12927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5" name="Picture Placeholder 26"/>
          <p:cNvSpPr>
            <a:spLocks noGrp="1"/>
          </p:cNvSpPr>
          <p:nvPr>
            <p:ph type="pic" sz="quarter" idx="18"/>
          </p:nvPr>
        </p:nvSpPr>
        <p:spPr>
          <a:xfrm>
            <a:off x="5904583" y="-12927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7" name="Text Placeholder 36"/>
          <p:cNvSpPr>
            <a:spLocks noGrp="1"/>
          </p:cNvSpPr>
          <p:nvPr>
            <p:ph type="body" sz="quarter" idx="19"/>
          </p:nvPr>
        </p:nvSpPr>
        <p:spPr>
          <a:xfrm>
            <a:off x="-190500" y="59150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38" name="Text Placeholder 36"/>
          <p:cNvSpPr>
            <a:spLocks noGrp="1"/>
          </p:cNvSpPr>
          <p:nvPr>
            <p:ph type="body" sz="quarter" idx="20"/>
          </p:nvPr>
        </p:nvSpPr>
        <p:spPr>
          <a:xfrm>
            <a:off x="4591050" y="361950"/>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39" name="Text Placeholder 36"/>
          <p:cNvSpPr>
            <a:spLocks noGrp="1"/>
          </p:cNvSpPr>
          <p:nvPr>
            <p:ph type="body" sz="quarter" idx="21"/>
          </p:nvPr>
        </p:nvSpPr>
        <p:spPr>
          <a:xfrm>
            <a:off x="3324225" y="3714750"/>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1" name="Text Placeholder 36"/>
          <p:cNvSpPr>
            <a:spLocks noGrp="1"/>
          </p:cNvSpPr>
          <p:nvPr>
            <p:ph type="body" sz="quarter" idx="23"/>
          </p:nvPr>
        </p:nvSpPr>
        <p:spPr>
          <a:xfrm>
            <a:off x="5172075" y="59150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2" name="Text Placeholder 36"/>
          <p:cNvSpPr>
            <a:spLocks noGrp="1"/>
          </p:cNvSpPr>
          <p:nvPr>
            <p:ph type="body" sz="quarter" idx="24"/>
          </p:nvPr>
        </p:nvSpPr>
        <p:spPr>
          <a:xfrm>
            <a:off x="6400800" y="26003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5" name="Text Placeholder 36"/>
          <p:cNvSpPr>
            <a:spLocks noGrp="1"/>
          </p:cNvSpPr>
          <p:nvPr>
            <p:ph type="body" sz="quarter" idx="25"/>
          </p:nvPr>
        </p:nvSpPr>
        <p:spPr>
          <a:xfrm>
            <a:off x="990600" y="26003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632279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 Body with image white">
    <p:bg>
      <p:bgPr>
        <a:solidFill>
          <a:schemeClr val="bg1"/>
        </a:solidFill>
        <a:effectLst/>
      </p:bgPr>
    </p:bg>
    <p:spTree>
      <p:nvGrpSpPr>
        <p:cNvPr id="1" name=""/>
        <p:cNvGrpSpPr/>
        <p:nvPr/>
      </p:nvGrpSpPr>
      <p:grpSpPr>
        <a:xfrm>
          <a:off x="0" y="0"/>
          <a:ext cx="0" cy="0"/>
          <a:chOff x="0" y="0"/>
          <a:chExt cx="0" cy="0"/>
        </a:xfrm>
      </p:grpSpPr>
      <p:sp>
        <p:nvSpPr>
          <p:cNvPr id="5" name="Parallelogram 4"/>
          <p:cNvSpPr/>
          <p:nvPr userDrawn="1"/>
        </p:nvSpPr>
        <p:spPr>
          <a:xfrm>
            <a:off x="593726" y="1364891"/>
            <a:ext cx="720000" cy="60959"/>
          </a:xfrm>
          <a:prstGeom prst="parallelogram">
            <a:avLst>
              <a:gd name="adj" fmla="val 3799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Picture Placeholder 3"/>
          <p:cNvSpPr>
            <a:spLocks noGrp="1"/>
          </p:cNvSpPr>
          <p:nvPr>
            <p:ph type="pic" sz="quarter" idx="10"/>
          </p:nvPr>
        </p:nvSpPr>
        <p:spPr>
          <a:xfrm>
            <a:off x="3770313" y="-84138"/>
            <a:ext cx="5449887" cy="7018021"/>
          </a:xfrm>
          <a:custGeom>
            <a:avLst/>
            <a:gdLst>
              <a:gd name="connsiteX0" fmla="*/ 0 w 5449887"/>
              <a:gd name="connsiteY0" fmla="*/ 0 h 7010401"/>
              <a:gd name="connsiteX1" fmla="*/ 5449887 w 5449887"/>
              <a:gd name="connsiteY1" fmla="*/ 0 h 7010401"/>
              <a:gd name="connsiteX2" fmla="*/ 5449887 w 5449887"/>
              <a:gd name="connsiteY2" fmla="*/ 7010401 h 7010401"/>
              <a:gd name="connsiteX3" fmla="*/ 0 w 5449887"/>
              <a:gd name="connsiteY3" fmla="*/ 7010401 h 7010401"/>
              <a:gd name="connsiteX4" fmla="*/ 0 w 5449887"/>
              <a:gd name="connsiteY4" fmla="*/ 0 h 7010401"/>
              <a:gd name="connsiteX0" fmla="*/ 0 w 5449887"/>
              <a:gd name="connsiteY0" fmla="*/ 0 h 7018021"/>
              <a:gd name="connsiteX1" fmla="*/ 5449887 w 5449887"/>
              <a:gd name="connsiteY1" fmla="*/ 0 h 7018021"/>
              <a:gd name="connsiteX2" fmla="*/ 5449887 w 5449887"/>
              <a:gd name="connsiteY2" fmla="*/ 7010401 h 7018021"/>
              <a:gd name="connsiteX3" fmla="*/ 2659380 w 5449887"/>
              <a:gd name="connsiteY3" fmla="*/ 7018021 h 7018021"/>
              <a:gd name="connsiteX4" fmla="*/ 0 w 5449887"/>
              <a:gd name="connsiteY4" fmla="*/ 0 h 7018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9887" h="7018021">
                <a:moveTo>
                  <a:pt x="0" y="0"/>
                </a:moveTo>
                <a:lnTo>
                  <a:pt x="5449887" y="0"/>
                </a:lnTo>
                <a:lnTo>
                  <a:pt x="5449887" y="7010401"/>
                </a:lnTo>
                <a:lnTo>
                  <a:pt x="2659380" y="7018021"/>
                </a:lnTo>
                <a:lnTo>
                  <a:pt x="0" y="0"/>
                </a:lnTo>
                <a:close/>
              </a:path>
            </a:pathLst>
          </a:custGeom>
          <a:solidFill>
            <a:schemeClr val="bg1">
              <a:lumMod val="65000"/>
            </a:schemeClr>
          </a:solidFill>
        </p:spPr>
        <p:txBody>
          <a:bodyPr lIns="2556000" tIns="3780000"/>
          <a:lstStyle>
            <a:lvl1pPr>
              <a:defRPr sz="1400" b="1">
                <a:solidFill>
                  <a:schemeClr val="bg1"/>
                </a:solidFill>
              </a:defRPr>
            </a:lvl1pPr>
          </a:lstStyle>
          <a:p>
            <a:endParaRPr lang="en-US"/>
          </a:p>
        </p:txBody>
      </p:sp>
      <p:sp>
        <p:nvSpPr>
          <p:cNvPr id="3" name="Text Placeholder 2"/>
          <p:cNvSpPr>
            <a:spLocks noGrp="1"/>
          </p:cNvSpPr>
          <p:nvPr>
            <p:ph type="body" sz="quarter" idx="11"/>
          </p:nvPr>
        </p:nvSpPr>
        <p:spPr>
          <a:xfrm>
            <a:off x="593726" y="1828800"/>
            <a:ext cx="3250249" cy="456035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600077" y="398977"/>
            <a:ext cx="3249722" cy="800867"/>
          </a:xfrm>
        </p:spPr>
        <p:txBody>
          <a:bodyPr/>
          <a:lstStyle/>
          <a:p>
            <a:r>
              <a:rPr lang="en-US"/>
              <a:t>Click to edit Master title style</a:t>
            </a:r>
          </a:p>
        </p:txBody>
      </p:sp>
    </p:spTree>
    <p:extLst>
      <p:ext uri="{BB962C8B-B14F-4D97-AF65-F5344CB8AC3E}">
        <p14:creationId xmlns:p14="http://schemas.microsoft.com/office/powerpoint/2010/main" val="164657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P3 Pictures and headings">
    <p:bg>
      <p:bgPr>
        <a:solidFill>
          <a:schemeClr val="accent2"/>
        </a:solidFill>
        <a:effectLst/>
      </p:bgPr>
    </p:bg>
    <p:spTree>
      <p:nvGrpSpPr>
        <p:cNvPr id="1" name=""/>
        <p:cNvGrpSpPr/>
        <p:nvPr/>
      </p:nvGrpSpPr>
      <p:grpSpPr>
        <a:xfrm>
          <a:off x="0" y="0"/>
          <a:ext cx="0" cy="0"/>
          <a:chOff x="0" y="0"/>
          <a:chExt cx="0" cy="0"/>
        </a:xfrm>
      </p:grpSpPr>
      <p:sp>
        <p:nvSpPr>
          <p:cNvPr id="30" name="Picture Placeholder 26"/>
          <p:cNvSpPr>
            <a:spLocks noGrp="1"/>
          </p:cNvSpPr>
          <p:nvPr>
            <p:ph type="pic" sz="quarter" idx="13"/>
          </p:nvPr>
        </p:nvSpPr>
        <p:spPr>
          <a:xfrm>
            <a:off x="-7510" y="3427229"/>
            <a:ext cx="3863072" cy="3476625"/>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1" name="Picture Placeholder 26"/>
          <p:cNvSpPr>
            <a:spLocks noGrp="1"/>
          </p:cNvSpPr>
          <p:nvPr>
            <p:ph type="pic" sz="quarter" idx="14"/>
          </p:nvPr>
        </p:nvSpPr>
        <p:spPr>
          <a:xfrm>
            <a:off x="2579646" y="3427229"/>
            <a:ext cx="3863072" cy="3476625"/>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3" name="Picture Placeholder 26"/>
          <p:cNvSpPr>
            <a:spLocks noGrp="1"/>
          </p:cNvSpPr>
          <p:nvPr>
            <p:ph type="pic" sz="quarter" idx="16"/>
          </p:nvPr>
        </p:nvSpPr>
        <p:spPr>
          <a:xfrm>
            <a:off x="1267779" y="-47517"/>
            <a:ext cx="3863072" cy="3476625"/>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4" name="Picture Placeholder 26"/>
          <p:cNvSpPr>
            <a:spLocks noGrp="1"/>
          </p:cNvSpPr>
          <p:nvPr>
            <p:ph type="pic" sz="quarter" idx="17"/>
          </p:nvPr>
        </p:nvSpPr>
        <p:spPr>
          <a:xfrm>
            <a:off x="3858119" y="-47517"/>
            <a:ext cx="3863072" cy="3476625"/>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2" name="Title 1"/>
          <p:cNvSpPr>
            <a:spLocks noGrp="1"/>
          </p:cNvSpPr>
          <p:nvPr>
            <p:ph type="title"/>
          </p:nvPr>
        </p:nvSpPr>
        <p:spPr>
          <a:xfrm>
            <a:off x="6096000" y="4543426"/>
            <a:ext cx="2638424" cy="1495424"/>
          </a:xfrm>
        </p:spPr>
        <p:txBody>
          <a:bodyPr/>
          <a:lstStyle>
            <a:lvl1pPr algn="r">
              <a:lnSpc>
                <a:spcPct val="100000"/>
              </a:lnSpc>
              <a:defRPr sz="3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60576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P4 Pictures with headings">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318250" y="733426"/>
            <a:ext cx="2425699" cy="1495424"/>
          </a:xfrm>
        </p:spPr>
        <p:txBody>
          <a:bodyPr/>
          <a:lstStyle>
            <a:lvl1pPr algn="r">
              <a:lnSpc>
                <a:spcPct val="100000"/>
              </a:lnSpc>
              <a:defRPr sz="3600">
                <a:solidFill>
                  <a:schemeClr val="bg1"/>
                </a:solidFill>
              </a:defRPr>
            </a:lvl1pPr>
          </a:lstStyle>
          <a:p>
            <a:r>
              <a:rPr lang="en-US" dirty="0"/>
              <a:t>Click to edit Master title style</a:t>
            </a:r>
          </a:p>
        </p:txBody>
      </p:sp>
      <p:sp>
        <p:nvSpPr>
          <p:cNvPr id="4" name="Picture Placeholder 3"/>
          <p:cNvSpPr>
            <a:spLocks noGrp="1"/>
          </p:cNvSpPr>
          <p:nvPr>
            <p:ph type="pic" sz="quarter" idx="14"/>
          </p:nvPr>
        </p:nvSpPr>
        <p:spPr>
          <a:xfrm>
            <a:off x="2676426" y="-7620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50000"/>
            </a:schemeClr>
          </a:solidFill>
        </p:spPr>
        <p:txBody>
          <a:bodyPr tIns="1296000"/>
          <a:lstStyle>
            <a:lvl1pPr algn="ctr">
              <a:defRPr sz="1100" b="1">
                <a:solidFill>
                  <a:schemeClr val="bg1"/>
                </a:solidFill>
              </a:defRPr>
            </a:lvl1pPr>
          </a:lstStyle>
          <a:p>
            <a:endParaRPr lang="en-US"/>
          </a:p>
        </p:txBody>
      </p:sp>
      <p:sp>
        <p:nvSpPr>
          <p:cNvPr id="10" name="Picture Placeholder 3"/>
          <p:cNvSpPr>
            <a:spLocks noGrp="1"/>
          </p:cNvSpPr>
          <p:nvPr>
            <p:ph type="pic" sz="quarter" idx="15"/>
          </p:nvPr>
        </p:nvSpPr>
        <p:spPr>
          <a:xfrm>
            <a:off x="-44549" y="-7620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65000"/>
            </a:schemeClr>
          </a:solidFill>
        </p:spPr>
        <p:txBody>
          <a:bodyPr tIns="1296000"/>
          <a:lstStyle>
            <a:lvl1pPr algn="ctr">
              <a:defRPr sz="1100" b="1">
                <a:solidFill>
                  <a:schemeClr val="bg1"/>
                </a:solidFill>
              </a:defRPr>
            </a:lvl1pPr>
          </a:lstStyle>
          <a:p>
            <a:endParaRPr lang="en-US"/>
          </a:p>
        </p:txBody>
      </p:sp>
      <p:sp>
        <p:nvSpPr>
          <p:cNvPr id="11" name="Picture Placeholder 3"/>
          <p:cNvSpPr>
            <a:spLocks noGrp="1"/>
          </p:cNvSpPr>
          <p:nvPr>
            <p:ph type="pic" sz="quarter" idx="16"/>
          </p:nvPr>
        </p:nvSpPr>
        <p:spPr>
          <a:xfrm>
            <a:off x="4009926" y="343535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65000"/>
            </a:schemeClr>
          </a:solidFill>
        </p:spPr>
        <p:txBody>
          <a:bodyPr tIns="1296000"/>
          <a:lstStyle>
            <a:lvl1pPr algn="ctr">
              <a:defRPr sz="1100" b="1">
                <a:solidFill>
                  <a:schemeClr val="bg1"/>
                </a:solidFill>
              </a:defRPr>
            </a:lvl1pPr>
          </a:lstStyle>
          <a:p>
            <a:endParaRPr lang="en-US"/>
          </a:p>
        </p:txBody>
      </p:sp>
      <p:sp>
        <p:nvSpPr>
          <p:cNvPr id="12" name="Picture Placeholder 3"/>
          <p:cNvSpPr>
            <a:spLocks noGrp="1"/>
          </p:cNvSpPr>
          <p:nvPr>
            <p:ph type="pic" sz="quarter" idx="17"/>
          </p:nvPr>
        </p:nvSpPr>
        <p:spPr>
          <a:xfrm>
            <a:off x="1282601" y="343535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50000"/>
            </a:schemeClr>
          </a:solidFill>
        </p:spPr>
        <p:txBody>
          <a:bodyPr tIns="1296000"/>
          <a:lstStyle>
            <a:lvl1pPr algn="ctr">
              <a:defRPr sz="1100" b="1">
                <a:solidFill>
                  <a:schemeClr val="bg1"/>
                </a:solidFill>
              </a:defRPr>
            </a:lvl1pPr>
          </a:lstStyle>
          <a:p>
            <a:endParaRPr lang="en-US"/>
          </a:p>
        </p:txBody>
      </p:sp>
    </p:spTree>
    <p:extLst>
      <p:ext uri="{BB962C8B-B14F-4D97-AF65-F5344CB8AC3E}">
        <p14:creationId xmlns:p14="http://schemas.microsoft.com/office/powerpoint/2010/main" val="887701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P4 Divider with image">
    <p:bg>
      <p:bgPr>
        <a:solidFill>
          <a:schemeClr val="accent2"/>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0" hasCustomPrompt="1"/>
          </p:nvPr>
        </p:nvSpPr>
        <p:spPr>
          <a:xfrm>
            <a:off x="5041032" y="-34440"/>
            <a:ext cx="4159250" cy="6934219"/>
          </a:xfrm>
          <a:custGeom>
            <a:avLst/>
            <a:gdLst>
              <a:gd name="connsiteX0" fmla="*/ 0 w 5842000"/>
              <a:gd name="connsiteY0" fmla="*/ 5194314 h 5194314"/>
              <a:gd name="connsiteX1" fmla="*/ 1984540 w 5842000"/>
              <a:gd name="connsiteY1" fmla="*/ 0 h 5194314"/>
              <a:gd name="connsiteX2" fmla="*/ 5842000 w 5842000"/>
              <a:gd name="connsiteY2" fmla="*/ 0 h 5194314"/>
              <a:gd name="connsiteX3" fmla="*/ 3857460 w 5842000"/>
              <a:gd name="connsiteY3" fmla="*/ 5194314 h 5194314"/>
              <a:gd name="connsiteX4" fmla="*/ 0 w 5842000"/>
              <a:gd name="connsiteY4" fmla="*/ 5194314 h 5194314"/>
              <a:gd name="connsiteX0" fmla="*/ 0 w 4159250"/>
              <a:gd name="connsiteY0" fmla="*/ 5194314 h 5194314"/>
              <a:gd name="connsiteX1" fmla="*/ 1984540 w 4159250"/>
              <a:gd name="connsiteY1" fmla="*/ 0 h 5194314"/>
              <a:gd name="connsiteX2" fmla="*/ 4159250 w 4159250"/>
              <a:gd name="connsiteY2" fmla="*/ 0 h 5194314"/>
              <a:gd name="connsiteX3" fmla="*/ 3857460 w 4159250"/>
              <a:gd name="connsiteY3" fmla="*/ 5194314 h 5194314"/>
              <a:gd name="connsiteX4" fmla="*/ 0 w 4159250"/>
              <a:gd name="connsiteY4" fmla="*/ 5194314 h 5194314"/>
              <a:gd name="connsiteX0" fmla="*/ 0 w 4159250"/>
              <a:gd name="connsiteY0" fmla="*/ 5194314 h 5200664"/>
              <a:gd name="connsiteX1" fmla="*/ 1984540 w 4159250"/>
              <a:gd name="connsiteY1" fmla="*/ 0 h 5200664"/>
              <a:gd name="connsiteX2" fmla="*/ 4159250 w 4159250"/>
              <a:gd name="connsiteY2" fmla="*/ 0 h 5200664"/>
              <a:gd name="connsiteX3" fmla="*/ 4130510 w 4159250"/>
              <a:gd name="connsiteY3" fmla="*/ 5200664 h 5200664"/>
              <a:gd name="connsiteX4" fmla="*/ 0 w 4159250"/>
              <a:gd name="connsiteY4" fmla="*/ 5194314 h 5200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9250" h="5200664">
                <a:moveTo>
                  <a:pt x="0" y="5194314"/>
                </a:moveTo>
                <a:lnTo>
                  <a:pt x="1984540" y="0"/>
                </a:lnTo>
                <a:lnTo>
                  <a:pt x="4159250" y="0"/>
                </a:lnTo>
                <a:lnTo>
                  <a:pt x="4130510" y="5200664"/>
                </a:lnTo>
                <a:lnTo>
                  <a:pt x="0" y="5194314"/>
                </a:lnTo>
                <a:close/>
              </a:path>
            </a:pathLst>
          </a:custGeom>
          <a:solidFill>
            <a:schemeClr val="bg1">
              <a:lumMod val="65000"/>
            </a:schemeClr>
          </a:solidFill>
        </p:spPr>
        <p:txBody>
          <a:bodyPr lIns="1368000" tIns="2700000" rIns="180000">
            <a:normAutofit/>
          </a:bodyPr>
          <a:lstStyle>
            <a:lvl1pPr>
              <a:defRPr sz="1200" b="1" baseline="0">
                <a:solidFill>
                  <a:schemeClr val="bg1"/>
                </a:solidFill>
              </a:defRPr>
            </a:lvl1pPr>
          </a:lstStyle>
          <a:p>
            <a:r>
              <a:rPr lang="en-AU" dirty="0"/>
              <a:t>To insert an image click on icon or leave blank</a:t>
            </a:r>
            <a:endParaRPr lang="en-US" dirty="0"/>
          </a:p>
        </p:txBody>
      </p:sp>
      <p:sp>
        <p:nvSpPr>
          <p:cNvPr id="10" name="Title 9"/>
          <p:cNvSpPr>
            <a:spLocks noGrp="1"/>
          </p:cNvSpPr>
          <p:nvPr>
            <p:ph type="title"/>
          </p:nvPr>
        </p:nvSpPr>
        <p:spPr>
          <a:xfrm>
            <a:off x="600079" y="2226733"/>
            <a:ext cx="5292723" cy="3005667"/>
          </a:xfrm>
        </p:spPr>
        <p:txBody>
          <a:bodyPr anchor="t">
            <a:noAutofit/>
          </a:bodyPr>
          <a:lstStyle>
            <a:lvl1pPr>
              <a:lnSpc>
                <a:spcPts val="3600"/>
              </a:lnSpc>
              <a:defRPr sz="3600">
                <a:solidFill>
                  <a:schemeClr val="bg1"/>
                </a:solidFill>
              </a:defRPr>
            </a:lvl1pPr>
          </a:lstStyle>
          <a:p>
            <a:r>
              <a:rPr lang="en-US" dirty="0"/>
              <a:t>Click to edit Master title style</a:t>
            </a:r>
          </a:p>
        </p:txBody>
      </p:sp>
      <p:sp>
        <p:nvSpPr>
          <p:cNvPr id="5" name="Parallelogram 4"/>
          <p:cNvSpPr/>
          <p:nvPr userDrawn="1"/>
        </p:nvSpPr>
        <p:spPr>
          <a:xfrm>
            <a:off x="593726"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560669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P5 Divider with image">
    <p:bg>
      <p:bgPr>
        <a:solidFill>
          <a:schemeClr val="accent2"/>
        </a:solidFill>
        <a:effectLst/>
      </p:bgPr>
    </p:bg>
    <p:spTree>
      <p:nvGrpSpPr>
        <p:cNvPr id="1" name=""/>
        <p:cNvGrpSpPr/>
        <p:nvPr/>
      </p:nvGrpSpPr>
      <p:grpSpPr>
        <a:xfrm>
          <a:off x="0" y="0"/>
          <a:ext cx="0" cy="0"/>
          <a:chOff x="0" y="0"/>
          <a:chExt cx="0" cy="0"/>
        </a:xfrm>
      </p:grpSpPr>
      <p:sp>
        <p:nvSpPr>
          <p:cNvPr id="5" name="Parallelogram 4"/>
          <p:cNvSpPr/>
          <p:nvPr userDrawn="1"/>
        </p:nvSpPr>
        <p:spPr>
          <a:xfrm>
            <a:off x="593726"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Picture Placeholder 3"/>
          <p:cNvSpPr>
            <a:spLocks noGrp="1"/>
          </p:cNvSpPr>
          <p:nvPr>
            <p:ph type="pic" sz="quarter" idx="10"/>
          </p:nvPr>
        </p:nvSpPr>
        <p:spPr>
          <a:xfrm>
            <a:off x="3770313" y="-84138"/>
            <a:ext cx="5449887" cy="7018021"/>
          </a:xfrm>
          <a:custGeom>
            <a:avLst/>
            <a:gdLst>
              <a:gd name="connsiteX0" fmla="*/ 0 w 5449887"/>
              <a:gd name="connsiteY0" fmla="*/ 0 h 7010401"/>
              <a:gd name="connsiteX1" fmla="*/ 5449887 w 5449887"/>
              <a:gd name="connsiteY1" fmla="*/ 0 h 7010401"/>
              <a:gd name="connsiteX2" fmla="*/ 5449887 w 5449887"/>
              <a:gd name="connsiteY2" fmla="*/ 7010401 h 7010401"/>
              <a:gd name="connsiteX3" fmla="*/ 0 w 5449887"/>
              <a:gd name="connsiteY3" fmla="*/ 7010401 h 7010401"/>
              <a:gd name="connsiteX4" fmla="*/ 0 w 5449887"/>
              <a:gd name="connsiteY4" fmla="*/ 0 h 7010401"/>
              <a:gd name="connsiteX0" fmla="*/ 0 w 5449887"/>
              <a:gd name="connsiteY0" fmla="*/ 0 h 7018021"/>
              <a:gd name="connsiteX1" fmla="*/ 5449887 w 5449887"/>
              <a:gd name="connsiteY1" fmla="*/ 0 h 7018021"/>
              <a:gd name="connsiteX2" fmla="*/ 5449887 w 5449887"/>
              <a:gd name="connsiteY2" fmla="*/ 7010401 h 7018021"/>
              <a:gd name="connsiteX3" fmla="*/ 2659380 w 5449887"/>
              <a:gd name="connsiteY3" fmla="*/ 7018021 h 7018021"/>
              <a:gd name="connsiteX4" fmla="*/ 0 w 5449887"/>
              <a:gd name="connsiteY4" fmla="*/ 0 h 7018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9887" h="7018021">
                <a:moveTo>
                  <a:pt x="0" y="0"/>
                </a:moveTo>
                <a:lnTo>
                  <a:pt x="5449887" y="0"/>
                </a:lnTo>
                <a:lnTo>
                  <a:pt x="5449887" y="7010401"/>
                </a:lnTo>
                <a:lnTo>
                  <a:pt x="2659380" y="7018021"/>
                </a:lnTo>
                <a:lnTo>
                  <a:pt x="0" y="0"/>
                </a:lnTo>
                <a:close/>
              </a:path>
            </a:pathLst>
          </a:custGeom>
          <a:solidFill>
            <a:schemeClr val="bg1">
              <a:lumMod val="65000"/>
            </a:schemeClr>
          </a:solidFill>
        </p:spPr>
        <p:txBody>
          <a:bodyPr lIns="2556000" tIns="3780000"/>
          <a:lstStyle>
            <a:lvl1pPr>
              <a:defRPr sz="1400" b="1">
                <a:solidFill>
                  <a:schemeClr val="bg1"/>
                </a:solidFill>
              </a:defRPr>
            </a:lvl1pPr>
          </a:lstStyle>
          <a:p>
            <a:endParaRPr lang="en-US"/>
          </a:p>
        </p:txBody>
      </p:sp>
      <p:sp>
        <p:nvSpPr>
          <p:cNvPr id="3" name="Text Placeholder 2"/>
          <p:cNvSpPr>
            <a:spLocks noGrp="1"/>
          </p:cNvSpPr>
          <p:nvPr>
            <p:ph type="body" sz="quarter" idx="11"/>
          </p:nvPr>
        </p:nvSpPr>
        <p:spPr>
          <a:xfrm>
            <a:off x="593726" y="2600325"/>
            <a:ext cx="3759199" cy="2524126"/>
          </a:xfrm>
        </p:spPr>
        <p:txBody>
          <a:bodyPr/>
          <a:lstStyle>
            <a:lvl1pPr>
              <a:defRPr sz="3600">
                <a:solidFill>
                  <a:schemeClr val="bg1"/>
                </a:solidFill>
                <a:latin typeface="Segoe UI Light" panose="020B0502040204020203" pitchFamily="34" charset="0"/>
              </a:defRPr>
            </a:lvl1pPr>
            <a:lvl2pPr>
              <a:defRPr sz="3600">
                <a:latin typeface="Segoe UI Light" panose="020B0502040204020203" pitchFamily="34" charset="0"/>
              </a:defRPr>
            </a:lvl2pPr>
            <a:lvl3pPr>
              <a:defRPr sz="3600">
                <a:latin typeface="Segoe UI Light" panose="020B0502040204020203" pitchFamily="34" charset="0"/>
              </a:defRPr>
            </a:lvl3pPr>
            <a:lvl4pPr>
              <a:defRPr sz="3600">
                <a:latin typeface="Segoe UI Light" panose="020B0502040204020203" pitchFamily="34" charset="0"/>
              </a:defRPr>
            </a:lvl4pPr>
            <a:lvl5pPr>
              <a:defRPr sz="3600">
                <a:latin typeface="Segoe UI Light" panose="020B0502040204020203" pitchFamily="34" charset="0"/>
              </a:defRPr>
            </a:lvl5pPr>
          </a:lstStyle>
          <a:p>
            <a:pPr lvl="0"/>
            <a:r>
              <a:rPr lang="en-US" dirty="0"/>
              <a:t>Click to edit Master text styles</a:t>
            </a:r>
          </a:p>
        </p:txBody>
      </p:sp>
    </p:spTree>
    <p:extLst>
      <p:ext uri="{BB962C8B-B14F-4D97-AF65-F5344CB8AC3E}">
        <p14:creationId xmlns:p14="http://schemas.microsoft.com/office/powerpoint/2010/main" val="9044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P6 Divider with image">
    <p:bg>
      <p:bgPr>
        <a:solidFill>
          <a:schemeClr val="accent2"/>
        </a:solidFill>
        <a:effectLst/>
      </p:bgPr>
    </p:bg>
    <p:spTree>
      <p:nvGrpSpPr>
        <p:cNvPr id="1" name=""/>
        <p:cNvGrpSpPr/>
        <p:nvPr/>
      </p:nvGrpSpPr>
      <p:grpSpPr>
        <a:xfrm>
          <a:off x="0" y="0"/>
          <a:ext cx="0" cy="0"/>
          <a:chOff x="0" y="0"/>
          <a:chExt cx="0" cy="0"/>
        </a:xfrm>
      </p:grpSpPr>
      <p:sp>
        <p:nvSpPr>
          <p:cNvPr id="5" name="Parallelogram 4"/>
          <p:cNvSpPr/>
          <p:nvPr userDrawn="1"/>
        </p:nvSpPr>
        <p:spPr>
          <a:xfrm>
            <a:off x="4927601"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sp>
        <p:nvSpPr>
          <p:cNvPr id="3" name="Text Placeholder 2"/>
          <p:cNvSpPr>
            <a:spLocks noGrp="1"/>
          </p:cNvSpPr>
          <p:nvPr>
            <p:ph type="body" sz="quarter" idx="11"/>
          </p:nvPr>
        </p:nvSpPr>
        <p:spPr>
          <a:xfrm>
            <a:off x="4927601" y="2600325"/>
            <a:ext cx="3759199" cy="2524126"/>
          </a:xfrm>
        </p:spPr>
        <p:txBody>
          <a:bodyPr/>
          <a:lstStyle>
            <a:lvl1pPr>
              <a:defRPr sz="3600">
                <a:solidFill>
                  <a:schemeClr val="bg1"/>
                </a:solidFill>
                <a:latin typeface="Segoe UI Light" panose="020B0502040204020203" pitchFamily="34" charset="0"/>
              </a:defRPr>
            </a:lvl1pPr>
            <a:lvl2pPr>
              <a:defRPr sz="3600">
                <a:latin typeface="Segoe UI Light" panose="020B0502040204020203" pitchFamily="34" charset="0"/>
              </a:defRPr>
            </a:lvl2pPr>
            <a:lvl3pPr>
              <a:defRPr sz="3600">
                <a:latin typeface="Segoe UI Light" panose="020B0502040204020203" pitchFamily="34" charset="0"/>
              </a:defRPr>
            </a:lvl3pPr>
            <a:lvl4pPr>
              <a:defRPr sz="3600">
                <a:latin typeface="Segoe UI Light" panose="020B0502040204020203" pitchFamily="34" charset="0"/>
              </a:defRPr>
            </a:lvl4pPr>
            <a:lvl5pPr>
              <a:defRPr sz="3600">
                <a:latin typeface="Segoe UI Light" panose="020B0502040204020203" pitchFamily="34" charset="0"/>
              </a:defRPr>
            </a:lvl5pPr>
          </a:lstStyle>
          <a:p>
            <a:pPr lvl="0"/>
            <a:r>
              <a:rPr lang="en-US" dirty="0"/>
              <a:t>Click to edit Master text styles</a:t>
            </a:r>
          </a:p>
        </p:txBody>
      </p:sp>
      <p:sp>
        <p:nvSpPr>
          <p:cNvPr id="6" name="Picture Placeholder 5"/>
          <p:cNvSpPr>
            <a:spLocks noGrp="1"/>
          </p:cNvSpPr>
          <p:nvPr>
            <p:ph type="pic" sz="quarter" idx="12"/>
          </p:nvPr>
        </p:nvSpPr>
        <p:spPr>
          <a:xfrm>
            <a:off x="-73025" y="-57151"/>
            <a:ext cx="5575300" cy="6988317"/>
          </a:xfrm>
          <a:custGeom>
            <a:avLst/>
            <a:gdLst>
              <a:gd name="connsiteX0" fmla="*/ 0 w 3441700"/>
              <a:gd name="connsiteY0" fmla="*/ 0 h 6940692"/>
              <a:gd name="connsiteX1" fmla="*/ 3441700 w 3441700"/>
              <a:gd name="connsiteY1" fmla="*/ 0 h 6940692"/>
              <a:gd name="connsiteX2" fmla="*/ 3441700 w 3441700"/>
              <a:gd name="connsiteY2" fmla="*/ 6940692 h 6940692"/>
              <a:gd name="connsiteX3" fmla="*/ 0 w 3441700"/>
              <a:gd name="connsiteY3" fmla="*/ 6940692 h 6940692"/>
              <a:gd name="connsiteX4" fmla="*/ 0 w 3441700"/>
              <a:gd name="connsiteY4" fmla="*/ 0 h 6940692"/>
              <a:gd name="connsiteX0" fmla="*/ 0 w 3441700"/>
              <a:gd name="connsiteY0" fmla="*/ 6349 h 6947041"/>
              <a:gd name="connsiteX1" fmla="*/ 831850 w 3441700"/>
              <a:gd name="connsiteY1" fmla="*/ 0 h 6947041"/>
              <a:gd name="connsiteX2" fmla="*/ 3441700 w 3441700"/>
              <a:gd name="connsiteY2" fmla="*/ 6349 h 6947041"/>
              <a:gd name="connsiteX3" fmla="*/ 3441700 w 3441700"/>
              <a:gd name="connsiteY3" fmla="*/ 6947041 h 6947041"/>
              <a:gd name="connsiteX4" fmla="*/ 0 w 3441700"/>
              <a:gd name="connsiteY4" fmla="*/ 6947041 h 6947041"/>
              <a:gd name="connsiteX5" fmla="*/ 0 w 3441700"/>
              <a:gd name="connsiteY5" fmla="*/ 6349 h 6947041"/>
              <a:gd name="connsiteX0" fmla="*/ 0 w 3441700"/>
              <a:gd name="connsiteY0" fmla="*/ 6349 h 6947041"/>
              <a:gd name="connsiteX1" fmla="*/ 831850 w 3441700"/>
              <a:gd name="connsiteY1" fmla="*/ 0 h 6947041"/>
              <a:gd name="connsiteX2" fmla="*/ 3441700 w 3441700"/>
              <a:gd name="connsiteY2" fmla="*/ 6947041 h 6947041"/>
              <a:gd name="connsiteX3" fmla="*/ 0 w 3441700"/>
              <a:gd name="connsiteY3" fmla="*/ 6947041 h 6947041"/>
              <a:gd name="connsiteX4" fmla="*/ 0 w 3441700"/>
              <a:gd name="connsiteY4" fmla="*/ 6349 h 6947041"/>
              <a:gd name="connsiteX0" fmla="*/ 0 w 3441700"/>
              <a:gd name="connsiteY0" fmla="*/ 6349 h 6947041"/>
              <a:gd name="connsiteX1" fmla="*/ 806450 w 3441700"/>
              <a:gd name="connsiteY1" fmla="*/ 0 h 6947041"/>
              <a:gd name="connsiteX2" fmla="*/ 3441700 w 3441700"/>
              <a:gd name="connsiteY2" fmla="*/ 6947041 h 6947041"/>
              <a:gd name="connsiteX3" fmla="*/ 0 w 3441700"/>
              <a:gd name="connsiteY3" fmla="*/ 6947041 h 6947041"/>
              <a:gd name="connsiteX4" fmla="*/ 0 w 3441700"/>
              <a:gd name="connsiteY4" fmla="*/ 6349 h 6947041"/>
              <a:gd name="connsiteX0" fmla="*/ 0 w 3441700"/>
              <a:gd name="connsiteY0" fmla="*/ 0 h 6940692"/>
              <a:gd name="connsiteX1" fmla="*/ 819150 w 3441700"/>
              <a:gd name="connsiteY1" fmla="*/ 1 h 6940692"/>
              <a:gd name="connsiteX2" fmla="*/ 3441700 w 3441700"/>
              <a:gd name="connsiteY2" fmla="*/ 6940692 h 6940692"/>
              <a:gd name="connsiteX3" fmla="*/ 0 w 3441700"/>
              <a:gd name="connsiteY3" fmla="*/ 6940692 h 6940692"/>
              <a:gd name="connsiteX4" fmla="*/ 0 w 3441700"/>
              <a:gd name="connsiteY4" fmla="*/ 0 h 6940692"/>
              <a:gd name="connsiteX0" fmla="*/ 0 w 5575300"/>
              <a:gd name="connsiteY0" fmla="*/ 0 h 6959742"/>
              <a:gd name="connsiteX1" fmla="*/ 2952750 w 5575300"/>
              <a:gd name="connsiteY1" fmla="*/ 19051 h 6959742"/>
              <a:gd name="connsiteX2" fmla="*/ 5575300 w 5575300"/>
              <a:gd name="connsiteY2" fmla="*/ 6959742 h 6959742"/>
              <a:gd name="connsiteX3" fmla="*/ 2133600 w 5575300"/>
              <a:gd name="connsiteY3" fmla="*/ 6959742 h 6959742"/>
              <a:gd name="connsiteX4" fmla="*/ 0 w 5575300"/>
              <a:gd name="connsiteY4" fmla="*/ 0 h 6959742"/>
              <a:gd name="connsiteX0" fmla="*/ 0 w 5575300"/>
              <a:gd name="connsiteY0" fmla="*/ 0 h 6988317"/>
              <a:gd name="connsiteX1" fmla="*/ 2952750 w 5575300"/>
              <a:gd name="connsiteY1" fmla="*/ 19051 h 6988317"/>
              <a:gd name="connsiteX2" fmla="*/ 5575300 w 5575300"/>
              <a:gd name="connsiteY2" fmla="*/ 6959742 h 6988317"/>
              <a:gd name="connsiteX3" fmla="*/ 0 w 5575300"/>
              <a:gd name="connsiteY3" fmla="*/ 6988317 h 6988317"/>
              <a:gd name="connsiteX4" fmla="*/ 0 w 5575300"/>
              <a:gd name="connsiteY4" fmla="*/ 0 h 6988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5300" h="6988317">
                <a:moveTo>
                  <a:pt x="0" y="0"/>
                </a:moveTo>
                <a:lnTo>
                  <a:pt x="2952750" y="19051"/>
                </a:lnTo>
                <a:lnTo>
                  <a:pt x="5575300" y="6959742"/>
                </a:lnTo>
                <a:lnTo>
                  <a:pt x="0" y="6988317"/>
                </a:lnTo>
                <a:lnTo>
                  <a:pt x="0" y="0"/>
                </a:lnTo>
                <a:close/>
              </a:path>
            </a:pathLst>
          </a:custGeom>
          <a:solidFill>
            <a:schemeClr val="bg1">
              <a:lumMod val="65000"/>
            </a:schemeClr>
          </a:solidFill>
        </p:spPr>
        <p:txBody>
          <a:bodyPr lIns="216000" tIns="3060000"/>
          <a:lstStyle>
            <a:lvl1pPr algn="ctr">
              <a:defRPr sz="1400" b="1">
                <a:solidFill>
                  <a:schemeClr val="bg1"/>
                </a:solidFill>
              </a:defRPr>
            </a:lvl1pPr>
          </a:lstStyle>
          <a:p>
            <a:endParaRPr lang="en-US"/>
          </a:p>
        </p:txBody>
      </p:sp>
    </p:spTree>
    <p:extLst>
      <p:ext uri="{BB962C8B-B14F-4D97-AF65-F5344CB8AC3E}">
        <p14:creationId xmlns:p14="http://schemas.microsoft.com/office/powerpoint/2010/main" val="3343502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P7 Divider with image">
    <p:bg>
      <p:bgPr>
        <a:solidFill>
          <a:schemeClr val="accent2"/>
        </a:solid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3943354" y="2226733"/>
            <a:ext cx="4600571" cy="3005667"/>
          </a:xfrm>
        </p:spPr>
        <p:txBody>
          <a:bodyPr anchor="t">
            <a:noAutofit/>
          </a:bodyPr>
          <a:lstStyle>
            <a:lvl1pPr>
              <a:lnSpc>
                <a:spcPts val="3600"/>
              </a:lnSpc>
              <a:defRPr sz="3600">
                <a:solidFill>
                  <a:schemeClr val="bg1"/>
                </a:solidFill>
              </a:defRPr>
            </a:lvl1pPr>
          </a:lstStyle>
          <a:p>
            <a:r>
              <a:rPr lang="en-US" dirty="0"/>
              <a:t>Click to edit Master title style</a:t>
            </a:r>
          </a:p>
        </p:txBody>
      </p:sp>
      <p:sp>
        <p:nvSpPr>
          <p:cNvPr id="5" name="Parallelogram 4"/>
          <p:cNvSpPr/>
          <p:nvPr userDrawn="1"/>
        </p:nvSpPr>
        <p:spPr>
          <a:xfrm>
            <a:off x="3937001"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Picture Placeholder 14"/>
          <p:cNvSpPr>
            <a:spLocks noGrp="1"/>
          </p:cNvSpPr>
          <p:nvPr>
            <p:ph type="pic" sz="quarter" idx="12"/>
          </p:nvPr>
        </p:nvSpPr>
        <p:spPr>
          <a:xfrm>
            <a:off x="-74915" y="-76200"/>
            <a:ext cx="4618340" cy="6977874"/>
          </a:xfrm>
          <a:custGeom>
            <a:avLst/>
            <a:gdLst>
              <a:gd name="connsiteX0" fmla="*/ 0 w 4618144"/>
              <a:gd name="connsiteY0" fmla="*/ 0 h 6965950"/>
              <a:gd name="connsiteX1" fmla="*/ 4618144 w 4618144"/>
              <a:gd name="connsiteY1" fmla="*/ 0 h 6965950"/>
              <a:gd name="connsiteX2" fmla="*/ 4618144 w 4618144"/>
              <a:gd name="connsiteY2" fmla="*/ 6965950 h 6965950"/>
              <a:gd name="connsiteX3" fmla="*/ 0 w 4618144"/>
              <a:gd name="connsiteY3" fmla="*/ 6965950 h 6965950"/>
              <a:gd name="connsiteX4" fmla="*/ 0 w 4618144"/>
              <a:gd name="connsiteY4" fmla="*/ 0 h 6965950"/>
              <a:gd name="connsiteX0" fmla="*/ 0 w 4618144"/>
              <a:gd name="connsiteY0" fmla="*/ 6350 h 6972300"/>
              <a:gd name="connsiteX1" fmla="*/ 1954319 w 4618144"/>
              <a:gd name="connsiteY1" fmla="*/ 0 h 6972300"/>
              <a:gd name="connsiteX2" fmla="*/ 4618144 w 4618144"/>
              <a:gd name="connsiteY2" fmla="*/ 6350 h 6972300"/>
              <a:gd name="connsiteX3" fmla="*/ 4618144 w 4618144"/>
              <a:gd name="connsiteY3" fmla="*/ 6972300 h 6972300"/>
              <a:gd name="connsiteX4" fmla="*/ 0 w 4618144"/>
              <a:gd name="connsiteY4" fmla="*/ 6972300 h 6972300"/>
              <a:gd name="connsiteX5" fmla="*/ 0 w 4618144"/>
              <a:gd name="connsiteY5" fmla="*/ 6350 h 6972300"/>
              <a:gd name="connsiteX0" fmla="*/ 0 w 4618144"/>
              <a:gd name="connsiteY0" fmla="*/ 6350 h 6972300"/>
              <a:gd name="connsiteX1" fmla="*/ 716069 w 4618144"/>
              <a:gd name="connsiteY1" fmla="*/ 0 h 6972300"/>
              <a:gd name="connsiteX2" fmla="*/ 1954319 w 4618144"/>
              <a:gd name="connsiteY2" fmla="*/ 0 h 6972300"/>
              <a:gd name="connsiteX3" fmla="*/ 4618144 w 4618144"/>
              <a:gd name="connsiteY3" fmla="*/ 6350 h 6972300"/>
              <a:gd name="connsiteX4" fmla="*/ 4618144 w 4618144"/>
              <a:gd name="connsiteY4" fmla="*/ 6972300 h 6972300"/>
              <a:gd name="connsiteX5" fmla="*/ 0 w 4618144"/>
              <a:gd name="connsiteY5" fmla="*/ 6972300 h 6972300"/>
              <a:gd name="connsiteX6" fmla="*/ 0 w 4618144"/>
              <a:gd name="connsiteY6" fmla="*/ 6350 h 6972300"/>
              <a:gd name="connsiteX0" fmla="*/ 0 w 4618144"/>
              <a:gd name="connsiteY0" fmla="*/ 6350 h 6972300"/>
              <a:gd name="connsiteX1" fmla="*/ 620819 w 4618144"/>
              <a:gd name="connsiteY1" fmla="*/ 0 h 6972300"/>
              <a:gd name="connsiteX2" fmla="*/ 716069 w 4618144"/>
              <a:gd name="connsiteY2" fmla="*/ 0 h 6972300"/>
              <a:gd name="connsiteX3" fmla="*/ 1954319 w 4618144"/>
              <a:gd name="connsiteY3" fmla="*/ 0 h 6972300"/>
              <a:gd name="connsiteX4" fmla="*/ 4618144 w 4618144"/>
              <a:gd name="connsiteY4" fmla="*/ 6350 h 6972300"/>
              <a:gd name="connsiteX5" fmla="*/ 4618144 w 4618144"/>
              <a:gd name="connsiteY5" fmla="*/ 6972300 h 6972300"/>
              <a:gd name="connsiteX6" fmla="*/ 0 w 4618144"/>
              <a:gd name="connsiteY6" fmla="*/ 6972300 h 6972300"/>
              <a:gd name="connsiteX7" fmla="*/ 0 w 4618144"/>
              <a:gd name="connsiteY7" fmla="*/ 6350 h 6972300"/>
              <a:gd name="connsiteX0" fmla="*/ 7831 w 4625975"/>
              <a:gd name="connsiteY0" fmla="*/ 6350 h 6972300"/>
              <a:gd name="connsiteX1" fmla="*/ 628650 w 4625975"/>
              <a:gd name="connsiteY1" fmla="*/ 0 h 6972300"/>
              <a:gd name="connsiteX2" fmla="*/ 723900 w 4625975"/>
              <a:gd name="connsiteY2" fmla="*/ 0 h 6972300"/>
              <a:gd name="connsiteX3" fmla="*/ 1962150 w 4625975"/>
              <a:gd name="connsiteY3" fmla="*/ 0 h 6972300"/>
              <a:gd name="connsiteX4" fmla="*/ 4625975 w 4625975"/>
              <a:gd name="connsiteY4" fmla="*/ 6350 h 6972300"/>
              <a:gd name="connsiteX5" fmla="*/ 4625975 w 4625975"/>
              <a:gd name="connsiteY5" fmla="*/ 6972300 h 6972300"/>
              <a:gd name="connsiteX6" fmla="*/ 7831 w 4625975"/>
              <a:gd name="connsiteY6" fmla="*/ 6972300 h 6972300"/>
              <a:gd name="connsiteX7" fmla="*/ 0 w 4625975"/>
              <a:gd name="connsiteY7" fmla="*/ 1625600 h 6972300"/>
              <a:gd name="connsiteX8" fmla="*/ 7831 w 4625975"/>
              <a:gd name="connsiteY8"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46555 w 4964699"/>
              <a:gd name="connsiteY6" fmla="*/ 6972300 h 6972300"/>
              <a:gd name="connsiteX7" fmla="*/ 332375 w 4964699"/>
              <a:gd name="connsiteY7" fmla="*/ 1841500 h 6972300"/>
              <a:gd name="connsiteX8" fmla="*/ 338724 w 4964699"/>
              <a:gd name="connsiteY8" fmla="*/ 1625600 h 6972300"/>
              <a:gd name="connsiteX9" fmla="*/ 346555 w 4964699"/>
              <a:gd name="connsiteY9"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2288175 w 4964699"/>
              <a:gd name="connsiteY6" fmla="*/ 6965950 h 6972300"/>
              <a:gd name="connsiteX7" fmla="*/ 346555 w 4964699"/>
              <a:gd name="connsiteY7" fmla="*/ 6972300 h 6972300"/>
              <a:gd name="connsiteX8" fmla="*/ 332375 w 4964699"/>
              <a:gd name="connsiteY8" fmla="*/ 1841500 h 6972300"/>
              <a:gd name="connsiteX9" fmla="*/ 338724 w 4964699"/>
              <a:gd name="connsiteY9" fmla="*/ 1625600 h 6972300"/>
              <a:gd name="connsiteX10" fmla="*/ 346555 w 4964699"/>
              <a:gd name="connsiteY10"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2389775 w 4964699"/>
              <a:gd name="connsiteY6" fmla="*/ 6959600 h 6972300"/>
              <a:gd name="connsiteX7" fmla="*/ 2288175 w 4964699"/>
              <a:gd name="connsiteY7" fmla="*/ 6965950 h 6972300"/>
              <a:gd name="connsiteX8" fmla="*/ 346555 w 4964699"/>
              <a:gd name="connsiteY8" fmla="*/ 6972300 h 6972300"/>
              <a:gd name="connsiteX9" fmla="*/ 332375 w 4964699"/>
              <a:gd name="connsiteY9" fmla="*/ 1841500 h 6972300"/>
              <a:gd name="connsiteX10" fmla="*/ 338724 w 4964699"/>
              <a:gd name="connsiteY10" fmla="*/ 1625600 h 6972300"/>
              <a:gd name="connsiteX11" fmla="*/ 346555 w 4964699"/>
              <a:gd name="connsiteY11"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615325 w 4964699"/>
              <a:gd name="connsiteY6" fmla="*/ 6959600 h 6972300"/>
              <a:gd name="connsiteX7" fmla="*/ 2389775 w 4964699"/>
              <a:gd name="connsiteY7" fmla="*/ 6959600 h 6972300"/>
              <a:gd name="connsiteX8" fmla="*/ 2288175 w 4964699"/>
              <a:gd name="connsiteY8" fmla="*/ 6965950 h 6972300"/>
              <a:gd name="connsiteX9" fmla="*/ 346555 w 4964699"/>
              <a:gd name="connsiteY9" fmla="*/ 6972300 h 6972300"/>
              <a:gd name="connsiteX10" fmla="*/ 332375 w 4964699"/>
              <a:gd name="connsiteY10" fmla="*/ 1841500 h 6972300"/>
              <a:gd name="connsiteX11" fmla="*/ 338724 w 4964699"/>
              <a:gd name="connsiteY11" fmla="*/ 1625600 h 6972300"/>
              <a:gd name="connsiteX12" fmla="*/ 346555 w 4964699"/>
              <a:gd name="connsiteY12"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704225 w 4964699"/>
              <a:gd name="connsiteY6" fmla="*/ 6959600 h 6972300"/>
              <a:gd name="connsiteX7" fmla="*/ 3615325 w 4964699"/>
              <a:gd name="connsiteY7" fmla="*/ 6959600 h 6972300"/>
              <a:gd name="connsiteX8" fmla="*/ 2389775 w 4964699"/>
              <a:gd name="connsiteY8" fmla="*/ 6959600 h 6972300"/>
              <a:gd name="connsiteX9" fmla="*/ 2288175 w 4964699"/>
              <a:gd name="connsiteY9" fmla="*/ 6965950 h 6972300"/>
              <a:gd name="connsiteX10" fmla="*/ 346555 w 4964699"/>
              <a:gd name="connsiteY10" fmla="*/ 6972300 h 6972300"/>
              <a:gd name="connsiteX11" fmla="*/ 332375 w 4964699"/>
              <a:gd name="connsiteY11" fmla="*/ 1841500 h 6972300"/>
              <a:gd name="connsiteX12" fmla="*/ 338724 w 4964699"/>
              <a:gd name="connsiteY12" fmla="*/ 1625600 h 6972300"/>
              <a:gd name="connsiteX13" fmla="*/ 346555 w 4964699"/>
              <a:gd name="connsiteY13" fmla="*/ 6350 h 6972300"/>
              <a:gd name="connsiteX0" fmla="*/ 346555 w 4964699"/>
              <a:gd name="connsiteY0" fmla="*/ 11113 h 6977063"/>
              <a:gd name="connsiteX1" fmla="*/ 967374 w 4964699"/>
              <a:gd name="connsiteY1" fmla="*/ 4763 h 6977063"/>
              <a:gd name="connsiteX2" fmla="*/ 1026113 w 4964699"/>
              <a:gd name="connsiteY2" fmla="*/ 0 h 6977063"/>
              <a:gd name="connsiteX3" fmla="*/ 1062624 w 4964699"/>
              <a:gd name="connsiteY3" fmla="*/ 4763 h 6977063"/>
              <a:gd name="connsiteX4" fmla="*/ 2300874 w 4964699"/>
              <a:gd name="connsiteY4" fmla="*/ 4763 h 6977063"/>
              <a:gd name="connsiteX5" fmla="*/ 4964699 w 4964699"/>
              <a:gd name="connsiteY5" fmla="*/ 11113 h 6977063"/>
              <a:gd name="connsiteX6" fmla="*/ 4964699 w 4964699"/>
              <a:gd name="connsiteY6" fmla="*/ 6977063 h 6977063"/>
              <a:gd name="connsiteX7" fmla="*/ 3704225 w 4964699"/>
              <a:gd name="connsiteY7" fmla="*/ 6964363 h 6977063"/>
              <a:gd name="connsiteX8" fmla="*/ 3615325 w 4964699"/>
              <a:gd name="connsiteY8" fmla="*/ 6964363 h 6977063"/>
              <a:gd name="connsiteX9" fmla="*/ 2389775 w 4964699"/>
              <a:gd name="connsiteY9" fmla="*/ 6964363 h 6977063"/>
              <a:gd name="connsiteX10" fmla="*/ 2288175 w 4964699"/>
              <a:gd name="connsiteY10" fmla="*/ 6970713 h 6977063"/>
              <a:gd name="connsiteX11" fmla="*/ 346555 w 4964699"/>
              <a:gd name="connsiteY11" fmla="*/ 6977063 h 6977063"/>
              <a:gd name="connsiteX12" fmla="*/ 332375 w 4964699"/>
              <a:gd name="connsiteY12" fmla="*/ 1846263 h 6977063"/>
              <a:gd name="connsiteX13" fmla="*/ 338724 w 4964699"/>
              <a:gd name="connsiteY13" fmla="*/ 1630363 h 6977063"/>
              <a:gd name="connsiteX14" fmla="*/ 346555 w 4964699"/>
              <a:gd name="connsiteY14" fmla="*/ 11113 h 6977063"/>
              <a:gd name="connsiteX0" fmla="*/ 346555 w 4964699"/>
              <a:gd name="connsiteY0" fmla="*/ 6350 h 6972300"/>
              <a:gd name="connsiteX1" fmla="*/ 967374 w 4964699"/>
              <a:gd name="connsiteY1" fmla="*/ 0 h 6972300"/>
              <a:gd name="connsiteX2" fmla="*/ 2526300 w 4964699"/>
              <a:gd name="connsiteY2" fmla="*/ 3881437 h 6972300"/>
              <a:gd name="connsiteX3" fmla="*/ 1062624 w 4964699"/>
              <a:gd name="connsiteY3" fmla="*/ 0 h 6972300"/>
              <a:gd name="connsiteX4" fmla="*/ 2300874 w 4964699"/>
              <a:gd name="connsiteY4" fmla="*/ 0 h 6972300"/>
              <a:gd name="connsiteX5" fmla="*/ 4964699 w 4964699"/>
              <a:gd name="connsiteY5" fmla="*/ 6350 h 6972300"/>
              <a:gd name="connsiteX6" fmla="*/ 4964699 w 4964699"/>
              <a:gd name="connsiteY6" fmla="*/ 6972300 h 6972300"/>
              <a:gd name="connsiteX7" fmla="*/ 3704225 w 4964699"/>
              <a:gd name="connsiteY7" fmla="*/ 6959600 h 6972300"/>
              <a:gd name="connsiteX8" fmla="*/ 3615325 w 4964699"/>
              <a:gd name="connsiteY8" fmla="*/ 6959600 h 6972300"/>
              <a:gd name="connsiteX9" fmla="*/ 2389775 w 4964699"/>
              <a:gd name="connsiteY9" fmla="*/ 6959600 h 6972300"/>
              <a:gd name="connsiteX10" fmla="*/ 2288175 w 4964699"/>
              <a:gd name="connsiteY10" fmla="*/ 6965950 h 6972300"/>
              <a:gd name="connsiteX11" fmla="*/ 346555 w 4964699"/>
              <a:gd name="connsiteY11" fmla="*/ 6972300 h 6972300"/>
              <a:gd name="connsiteX12" fmla="*/ 332375 w 4964699"/>
              <a:gd name="connsiteY12" fmla="*/ 1841500 h 6972300"/>
              <a:gd name="connsiteX13" fmla="*/ 338724 w 4964699"/>
              <a:gd name="connsiteY13" fmla="*/ 1625600 h 6972300"/>
              <a:gd name="connsiteX14" fmla="*/ 346555 w 4964699"/>
              <a:gd name="connsiteY14" fmla="*/ 6350 h 6972300"/>
              <a:gd name="connsiteX0" fmla="*/ 346555 w 4964699"/>
              <a:gd name="connsiteY0" fmla="*/ 6350 h 6972300"/>
              <a:gd name="connsiteX1" fmla="*/ 967374 w 4964699"/>
              <a:gd name="connsiteY1" fmla="*/ 0 h 6972300"/>
              <a:gd name="connsiteX2" fmla="*/ 3699780 w 4964699"/>
              <a:gd name="connsiteY2" fmla="*/ 6967537 h 6972300"/>
              <a:gd name="connsiteX3" fmla="*/ 1062624 w 4964699"/>
              <a:gd name="connsiteY3" fmla="*/ 0 h 6972300"/>
              <a:gd name="connsiteX4" fmla="*/ 2300874 w 4964699"/>
              <a:gd name="connsiteY4" fmla="*/ 0 h 6972300"/>
              <a:gd name="connsiteX5" fmla="*/ 4964699 w 4964699"/>
              <a:gd name="connsiteY5" fmla="*/ 6350 h 6972300"/>
              <a:gd name="connsiteX6" fmla="*/ 4964699 w 4964699"/>
              <a:gd name="connsiteY6" fmla="*/ 6972300 h 6972300"/>
              <a:gd name="connsiteX7" fmla="*/ 3704225 w 4964699"/>
              <a:gd name="connsiteY7" fmla="*/ 6959600 h 6972300"/>
              <a:gd name="connsiteX8" fmla="*/ 3615325 w 4964699"/>
              <a:gd name="connsiteY8" fmla="*/ 6959600 h 6972300"/>
              <a:gd name="connsiteX9" fmla="*/ 2389775 w 4964699"/>
              <a:gd name="connsiteY9" fmla="*/ 6959600 h 6972300"/>
              <a:gd name="connsiteX10" fmla="*/ 2288175 w 4964699"/>
              <a:gd name="connsiteY10" fmla="*/ 6965950 h 6972300"/>
              <a:gd name="connsiteX11" fmla="*/ 346555 w 4964699"/>
              <a:gd name="connsiteY11" fmla="*/ 6972300 h 6972300"/>
              <a:gd name="connsiteX12" fmla="*/ 332375 w 4964699"/>
              <a:gd name="connsiteY12" fmla="*/ 1841500 h 6972300"/>
              <a:gd name="connsiteX13" fmla="*/ 338724 w 4964699"/>
              <a:gd name="connsiteY13" fmla="*/ 1625600 h 6972300"/>
              <a:gd name="connsiteX14" fmla="*/ 346555 w 4964699"/>
              <a:gd name="connsiteY14" fmla="*/ 6350 h 6972300"/>
              <a:gd name="connsiteX0" fmla="*/ 346555 w 4964699"/>
              <a:gd name="connsiteY0" fmla="*/ 6350 h 6972300"/>
              <a:gd name="connsiteX1" fmla="*/ 967374 w 4964699"/>
              <a:gd name="connsiteY1" fmla="*/ 0 h 6972300"/>
              <a:gd name="connsiteX2" fmla="*/ 2684415 w 4964699"/>
              <a:gd name="connsiteY2" fmla="*/ 438150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615325 w 4964699"/>
              <a:gd name="connsiteY9" fmla="*/ 695960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346555 w 4964699"/>
              <a:gd name="connsiteY0" fmla="*/ 6350 h 6972300"/>
              <a:gd name="connsiteX1" fmla="*/ 967374 w 4964699"/>
              <a:gd name="connsiteY1" fmla="*/ 0 h 6972300"/>
              <a:gd name="connsiteX2" fmla="*/ 3621675 w 4964699"/>
              <a:gd name="connsiteY2" fmla="*/ 695706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615325 w 4964699"/>
              <a:gd name="connsiteY9" fmla="*/ 695960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346555 w 4964699"/>
              <a:gd name="connsiteY0" fmla="*/ 6350 h 6972300"/>
              <a:gd name="connsiteX1" fmla="*/ 967374 w 4964699"/>
              <a:gd name="connsiteY1" fmla="*/ 0 h 6972300"/>
              <a:gd name="connsiteX2" fmla="*/ 3621675 w 4964699"/>
              <a:gd name="connsiteY2" fmla="*/ 695706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592465 w 4964699"/>
              <a:gd name="connsiteY9" fmla="*/ 695198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154847 w 4772991"/>
              <a:gd name="connsiteY0" fmla="*/ 6350 h 6972300"/>
              <a:gd name="connsiteX1" fmla="*/ 775666 w 4772991"/>
              <a:gd name="connsiteY1" fmla="*/ 0 h 6972300"/>
              <a:gd name="connsiteX2" fmla="*/ 3429967 w 4772991"/>
              <a:gd name="connsiteY2" fmla="*/ 6957060 h 6972300"/>
              <a:gd name="connsiteX3" fmla="*/ 3508072 w 4772991"/>
              <a:gd name="connsiteY3" fmla="*/ 6967537 h 6972300"/>
              <a:gd name="connsiteX4" fmla="*/ 870916 w 4772991"/>
              <a:gd name="connsiteY4" fmla="*/ 0 h 6972300"/>
              <a:gd name="connsiteX5" fmla="*/ 2109166 w 4772991"/>
              <a:gd name="connsiteY5" fmla="*/ 0 h 6972300"/>
              <a:gd name="connsiteX6" fmla="*/ 4772991 w 4772991"/>
              <a:gd name="connsiteY6" fmla="*/ 6350 h 6972300"/>
              <a:gd name="connsiteX7" fmla="*/ 4772991 w 4772991"/>
              <a:gd name="connsiteY7" fmla="*/ 6972300 h 6972300"/>
              <a:gd name="connsiteX8" fmla="*/ 3512517 w 4772991"/>
              <a:gd name="connsiteY8" fmla="*/ 6959600 h 6972300"/>
              <a:gd name="connsiteX9" fmla="*/ 3400757 w 4772991"/>
              <a:gd name="connsiteY9" fmla="*/ 6951980 h 6972300"/>
              <a:gd name="connsiteX10" fmla="*/ 2198067 w 4772991"/>
              <a:gd name="connsiteY10" fmla="*/ 6959600 h 6972300"/>
              <a:gd name="connsiteX11" fmla="*/ 2096467 w 4772991"/>
              <a:gd name="connsiteY11" fmla="*/ 6965950 h 6972300"/>
              <a:gd name="connsiteX12" fmla="*/ 154847 w 4772991"/>
              <a:gd name="connsiteY12" fmla="*/ 6972300 h 6972300"/>
              <a:gd name="connsiteX13" fmla="*/ 121617 w 4772991"/>
              <a:gd name="connsiteY13" fmla="*/ 1974850 h 6972300"/>
              <a:gd name="connsiteX14" fmla="*/ 140667 w 4772991"/>
              <a:gd name="connsiteY14" fmla="*/ 1841500 h 6972300"/>
              <a:gd name="connsiteX15" fmla="*/ 147016 w 4772991"/>
              <a:gd name="connsiteY15" fmla="*/ 1625600 h 6972300"/>
              <a:gd name="connsiteX16" fmla="*/ 154847 w 4772991"/>
              <a:gd name="connsiteY16"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123157 w 4774531"/>
              <a:gd name="connsiteY14" fmla="*/ 1974850 h 6972300"/>
              <a:gd name="connsiteX15" fmla="*/ 142207 w 4774531"/>
              <a:gd name="connsiteY15" fmla="*/ 1841500 h 6972300"/>
              <a:gd name="connsiteX16" fmla="*/ 148556 w 4774531"/>
              <a:gd name="connsiteY16" fmla="*/ 1625600 h 6972300"/>
              <a:gd name="connsiteX17" fmla="*/ 156387 w 4774531"/>
              <a:gd name="connsiteY17"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123157 w 4774531"/>
              <a:gd name="connsiteY14" fmla="*/ 1974850 h 6972300"/>
              <a:gd name="connsiteX15" fmla="*/ 525589 w 4774531"/>
              <a:gd name="connsiteY15" fmla="*/ 1889125 h 6972300"/>
              <a:gd name="connsiteX16" fmla="*/ 148556 w 4774531"/>
              <a:gd name="connsiteY16" fmla="*/ 1625600 h 6972300"/>
              <a:gd name="connsiteX17" fmla="*/ 156387 w 4774531"/>
              <a:gd name="connsiteY17"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430338 w 4774531"/>
              <a:gd name="connsiteY14" fmla="*/ 2432050 h 6972300"/>
              <a:gd name="connsiteX15" fmla="*/ 525589 w 4774531"/>
              <a:gd name="connsiteY15" fmla="*/ 1889125 h 6972300"/>
              <a:gd name="connsiteX16" fmla="*/ 148556 w 4774531"/>
              <a:gd name="connsiteY16" fmla="*/ 1625600 h 6972300"/>
              <a:gd name="connsiteX17" fmla="*/ 156387 w 4774531"/>
              <a:gd name="connsiteY17" fmla="*/ 6350 h 6972300"/>
              <a:gd name="connsiteX0" fmla="*/ 146526 w 4764670"/>
              <a:gd name="connsiteY0" fmla="*/ 6350 h 6972300"/>
              <a:gd name="connsiteX1" fmla="*/ 767345 w 4764670"/>
              <a:gd name="connsiteY1" fmla="*/ 0 h 6972300"/>
              <a:gd name="connsiteX2" fmla="*/ 3421646 w 4764670"/>
              <a:gd name="connsiteY2" fmla="*/ 6957060 h 6972300"/>
              <a:gd name="connsiteX3" fmla="*/ 3499751 w 4764670"/>
              <a:gd name="connsiteY3" fmla="*/ 6967537 h 6972300"/>
              <a:gd name="connsiteX4" fmla="*/ 862595 w 4764670"/>
              <a:gd name="connsiteY4" fmla="*/ 0 h 6972300"/>
              <a:gd name="connsiteX5" fmla="*/ 2100845 w 4764670"/>
              <a:gd name="connsiteY5" fmla="*/ 0 h 6972300"/>
              <a:gd name="connsiteX6" fmla="*/ 4764670 w 4764670"/>
              <a:gd name="connsiteY6" fmla="*/ 6350 h 6972300"/>
              <a:gd name="connsiteX7" fmla="*/ 4764670 w 4764670"/>
              <a:gd name="connsiteY7" fmla="*/ 6972300 h 6972300"/>
              <a:gd name="connsiteX8" fmla="*/ 3504196 w 4764670"/>
              <a:gd name="connsiteY8" fmla="*/ 6959600 h 6972300"/>
              <a:gd name="connsiteX9" fmla="*/ 3392436 w 4764670"/>
              <a:gd name="connsiteY9" fmla="*/ 6951980 h 6972300"/>
              <a:gd name="connsiteX10" fmla="*/ 2189746 w 4764670"/>
              <a:gd name="connsiteY10" fmla="*/ 6959600 h 6972300"/>
              <a:gd name="connsiteX11" fmla="*/ 2088146 w 4764670"/>
              <a:gd name="connsiteY11" fmla="*/ 6965950 h 6972300"/>
              <a:gd name="connsiteX12" fmla="*/ 146526 w 4764670"/>
              <a:gd name="connsiteY12" fmla="*/ 6972300 h 6972300"/>
              <a:gd name="connsiteX13" fmla="*/ 142665 w 4764670"/>
              <a:gd name="connsiteY13" fmla="*/ 2000250 h 6972300"/>
              <a:gd name="connsiteX14" fmla="*/ 420477 w 4764670"/>
              <a:gd name="connsiteY14" fmla="*/ 2432050 h 6972300"/>
              <a:gd name="connsiteX15" fmla="*/ 515728 w 4764670"/>
              <a:gd name="connsiteY15" fmla="*/ 1889125 h 6972300"/>
              <a:gd name="connsiteX16" fmla="*/ 138695 w 4764670"/>
              <a:gd name="connsiteY16" fmla="*/ 1625600 h 6972300"/>
              <a:gd name="connsiteX17" fmla="*/ 146526 w 4764670"/>
              <a:gd name="connsiteY17" fmla="*/ 6350 h 6972300"/>
              <a:gd name="connsiteX0" fmla="*/ 146526 w 4764670"/>
              <a:gd name="connsiteY0" fmla="*/ 6350 h 6972300"/>
              <a:gd name="connsiteX1" fmla="*/ 767345 w 4764670"/>
              <a:gd name="connsiteY1" fmla="*/ 0 h 6972300"/>
              <a:gd name="connsiteX2" fmla="*/ 3421646 w 4764670"/>
              <a:gd name="connsiteY2" fmla="*/ 6957060 h 6972300"/>
              <a:gd name="connsiteX3" fmla="*/ 3499751 w 4764670"/>
              <a:gd name="connsiteY3" fmla="*/ 6967537 h 6972300"/>
              <a:gd name="connsiteX4" fmla="*/ 862595 w 4764670"/>
              <a:gd name="connsiteY4" fmla="*/ 0 h 6972300"/>
              <a:gd name="connsiteX5" fmla="*/ 2100845 w 4764670"/>
              <a:gd name="connsiteY5" fmla="*/ 0 h 6972300"/>
              <a:gd name="connsiteX6" fmla="*/ 4764670 w 4764670"/>
              <a:gd name="connsiteY6" fmla="*/ 6350 h 6972300"/>
              <a:gd name="connsiteX7" fmla="*/ 4764670 w 4764670"/>
              <a:gd name="connsiteY7" fmla="*/ 6972300 h 6972300"/>
              <a:gd name="connsiteX8" fmla="*/ 3504196 w 4764670"/>
              <a:gd name="connsiteY8" fmla="*/ 6959600 h 6972300"/>
              <a:gd name="connsiteX9" fmla="*/ 3392436 w 4764670"/>
              <a:gd name="connsiteY9" fmla="*/ 6951980 h 6972300"/>
              <a:gd name="connsiteX10" fmla="*/ 2189746 w 4764670"/>
              <a:gd name="connsiteY10" fmla="*/ 6959600 h 6972300"/>
              <a:gd name="connsiteX11" fmla="*/ 2088146 w 4764670"/>
              <a:gd name="connsiteY11" fmla="*/ 6965950 h 6972300"/>
              <a:gd name="connsiteX12" fmla="*/ 146526 w 4764670"/>
              <a:gd name="connsiteY12" fmla="*/ 6972300 h 6972300"/>
              <a:gd name="connsiteX13" fmla="*/ 142665 w 4764670"/>
              <a:gd name="connsiteY13" fmla="*/ 2000250 h 6972300"/>
              <a:gd name="connsiteX14" fmla="*/ 420477 w 4764670"/>
              <a:gd name="connsiteY14" fmla="*/ 2432050 h 6972300"/>
              <a:gd name="connsiteX15" fmla="*/ 515728 w 4764670"/>
              <a:gd name="connsiteY15" fmla="*/ 1889125 h 6972300"/>
              <a:gd name="connsiteX16" fmla="*/ 138695 w 4764670"/>
              <a:gd name="connsiteY16" fmla="*/ 1625600 h 6972300"/>
              <a:gd name="connsiteX17" fmla="*/ 146526 w 476467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411767 w 4755960"/>
              <a:gd name="connsiteY14" fmla="*/ 2432050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1545242 w 4755960"/>
              <a:gd name="connsiteY14" fmla="*/ 5541962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2078642 w 4755960"/>
              <a:gd name="connsiteY14" fmla="*/ 6970712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29985 w 4755960"/>
              <a:gd name="connsiteY16" fmla="*/ 1625600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44272 w 4755960"/>
              <a:gd name="connsiteY16" fmla="*/ 1616076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44272 w 4755960"/>
              <a:gd name="connsiteY16" fmla="*/ 1616076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29985 w 4755960"/>
              <a:gd name="connsiteY16" fmla="*/ 1630363 h 6977874"/>
              <a:gd name="connsiteX17" fmla="*/ 137816 w 4755960"/>
              <a:gd name="connsiteY17" fmla="*/ 6350 h 6977874"/>
              <a:gd name="connsiteX0" fmla="*/ 142330 w 4760474"/>
              <a:gd name="connsiteY0" fmla="*/ 6350 h 6977874"/>
              <a:gd name="connsiteX1" fmla="*/ 763149 w 4760474"/>
              <a:gd name="connsiteY1" fmla="*/ 0 h 6977874"/>
              <a:gd name="connsiteX2" fmla="*/ 3417450 w 4760474"/>
              <a:gd name="connsiteY2" fmla="*/ 6957060 h 6977874"/>
              <a:gd name="connsiteX3" fmla="*/ 3495555 w 4760474"/>
              <a:gd name="connsiteY3" fmla="*/ 6967537 h 6977874"/>
              <a:gd name="connsiteX4" fmla="*/ 858399 w 4760474"/>
              <a:gd name="connsiteY4" fmla="*/ 0 h 6977874"/>
              <a:gd name="connsiteX5" fmla="*/ 2096649 w 4760474"/>
              <a:gd name="connsiteY5" fmla="*/ 0 h 6977874"/>
              <a:gd name="connsiteX6" fmla="*/ 4760474 w 4760474"/>
              <a:gd name="connsiteY6" fmla="*/ 6350 h 6977874"/>
              <a:gd name="connsiteX7" fmla="*/ 4760474 w 4760474"/>
              <a:gd name="connsiteY7" fmla="*/ 6972300 h 6977874"/>
              <a:gd name="connsiteX8" fmla="*/ 3500000 w 4760474"/>
              <a:gd name="connsiteY8" fmla="*/ 6959600 h 6977874"/>
              <a:gd name="connsiteX9" fmla="*/ 3388240 w 4760474"/>
              <a:gd name="connsiteY9" fmla="*/ 6951980 h 6977874"/>
              <a:gd name="connsiteX10" fmla="*/ 2185550 w 4760474"/>
              <a:gd name="connsiteY10" fmla="*/ 6959600 h 6977874"/>
              <a:gd name="connsiteX11" fmla="*/ 2083950 w 4760474"/>
              <a:gd name="connsiteY11" fmla="*/ 6965950 h 6977874"/>
              <a:gd name="connsiteX12" fmla="*/ 142330 w 4760474"/>
              <a:gd name="connsiteY12" fmla="*/ 6972300 h 6977874"/>
              <a:gd name="connsiteX13" fmla="*/ 155138 w 4760474"/>
              <a:gd name="connsiteY13" fmla="*/ 1883569 h 6977874"/>
              <a:gd name="connsiteX14" fmla="*/ 2083156 w 4760474"/>
              <a:gd name="connsiteY14" fmla="*/ 6970712 h 6977874"/>
              <a:gd name="connsiteX15" fmla="*/ 2183170 w 4760474"/>
              <a:gd name="connsiteY15" fmla="*/ 6956425 h 6977874"/>
              <a:gd name="connsiteX16" fmla="*/ 134499 w 4760474"/>
              <a:gd name="connsiteY16" fmla="*/ 1630363 h 6977874"/>
              <a:gd name="connsiteX17" fmla="*/ 142330 w 4760474"/>
              <a:gd name="connsiteY17" fmla="*/ 6350 h 6977874"/>
              <a:gd name="connsiteX0" fmla="*/ 144363 w 4762507"/>
              <a:gd name="connsiteY0" fmla="*/ 6350 h 6977874"/>
              <a:gd name="connsiteX1" fmla="*/ 765182 w 4762507"/>
              <a:gd name="connsiteY1" fmla="*/ 0 h 6977874"/>
              <a:gd name="connsiteX2" fmla="*/ 3419483 w 4762507"/>
              <a:gd name="connsiteY2" fmla="*/ 6957060 h 6977874"/>
              <a:gd name="connsiteX3" fmla="*/ 3497588 w 4762507"/>
              <a:gd name="connsiteY3" fmla="*/ 6967537 h 6977874"/>
              <a:gd name="connsiteX4" fmla="*/ 860432 w 4762507"/>
              <a:gd name="connsiteY4" fmla="*/ 0 h 6977874"/>
              <a:gd name="connsiteX5" fmla="*/ 2098682 w 4762507"/>
              <a:gd name="connsiteY5" fmla="*/ 0 h 6977874"/>
              <a:gd name="connsiteX6" fmla="*/ 4762507 w 4762507"/>
              <a:gd name="connsiteY6" fmla="*/ 6350 h 6977874"/>
              <a:gd name="connsiteX7" fmla="*/ 4762507 w 4762507"/>
              <a:gd name="connsiteY7" fmla="*/ 6972300 h 6977874"/>
              <a:gd name="connsiteX8" fmla="*/ 3502033 w 4762507"/>
              <a:gd name="connsiteY8" fmla="*/ 6959600 h 6977874"/>
              <a:gd name="connsiteX9" fmla="*/ 3390273 w 4762507"/>
              <a:gd name="connsiteY9" fmla="*/ 6951980 h 6977874"/>
              <a:gd name="connsiteX10" fmla="*/ 2187583 w 4762507"/>
              <a:gd name="connsiteY10" fmla="*/ 6959600 h 6977874"/>
              <a:gd name="connsiteX11" fmla="*/ 2085983 w 4762507"/>
              <a:gd name="connsiteY11" fmla="*/ 6965950 h 6977874"/>
              <a:gd name="connsiteX12" fmla="*/ 144363 w 4762507"/>
              <a:gd name="connsiteY12" fmla="*/ 6972300 h 6977874"/>
              <a:gd name="connsiteX13" fmla="*/ 157171 w 4762507"/>
              <a:gd name="connsiteY13" fmla="*/ 1883569 h 6977874"/>
              <a:gd name="connsiteX14" fmla="*/ 2085189 w 4762507"/>
              <a:gd name="connsiteY14" fmla="*/ 6970712 h 6977874"/>
              <a:gd name="connsiteX15" fmla="*/ 2185203 w 4762507"/>
              <a:gd name="connsiteY15" fmla="*/ 6956425 h 6977874"/>
              <a:gd name="connsiteX16" fmla="*/ 136532 w 4762507"/>
              <a:gd name="connsiteY16" fmla="*/ 1630363 h 6977874"/>
              <a:gd name="connsiteX17" fmla="*/ 144363 w 4762507"/>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8220 w 4626364"/>
              <a:gd name="connsiteY12" fmla="*/ 6972300 h 6977874"/>
              <a:gd name="connsiteX13" fmla="*/ 21028 w 4626364"/>
              <a:gd name="connsiteY13" fmla="*/ 188356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46320 w 4626364"/>
              <a:gd name="connsiteY12" fmla="*/ 6965950 h 6977874"/>
              <a:gd name="connsiteX13" fmla="*/ 21028 w 4626364"/>
              <a:gd name="connsiteY13" fmla="*/ 188356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46320 w 4626364"/>
              <a:gd name="connsiteY12" fmla="*/ 6965950 h 6977874"/>
              <a:gd name="connsiteX13" fmla="*/ 40078 w 4626364"/>
              <a:gd name="connsiteY13" fmla="*/ 194071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350 h 6977874"/>
              <a:gd name="connsiteX7" fmla="*/ 4618340 w 4618340"/>
              <a:gd name="connsiteY7" fmla="*/ 6972300 h 6977874"/>
              <a:gd name="connsiteX8" fmla="*/ 3357866 w 4618340"/>
              <a:gd name="connsiteY8" fmla="*/ 6959600 h 6977874"/>
              <a:gd name="connsiteX9" fmla="*/ 3246106 w 4618340"/>
              <a:gd name="connsiteY9" fmla="*/ 6951980 h 6977874"/>
              <a:gd name="connsiteX10" fmla="*/ 2043416 w 4618340"/>
              <a:gd name="connsiteY10" fmla="*/ 6959600 h 6977874"/>
              <a:gd name="connsiteX11" fmla="*/ 1941816 w 4618340"/>
              <a:gd name="connsiteY11" fmla="*/ 6965950 h 6977874"/>
              <a:gd name="connsiteX12" fmla="*/ 38296 w 4618340"/>
              <a:gd name="connsiteY12" fmla="*/ 6965950 h 6977874"/>
              <a:gd name="connsiteX13" fmla="*/ 32054 w 4618340"/>
              <a:gd name="connsiteY13" fmla="*/ 1940719 h 6977874"/>
              <a:gd name="connsiteX14" fmla="*/ 1941022 w 4618340"/>
              <a:gd name="connsiteY14" fmla="*/ 6970712 h 6977874"/>
              <a:gd name="connsiteX15" fmla="*/ 2041036 w 4618340"/>
              <a:gd name="connsiteY15" fmla="*/ 6956425 h 6977874"/>
              <a:gd name="connsiteX16" fmla="*/ 24115 w 4618340"/>
              <a:gd name="connsiteY16" fmla="*/ 1712913 h 6977874"/>
              <a:gd name="connsiteX17" fmla="*/ 196 w 4618340"/>
              <a:gd name="connsiteY17"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4102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6007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7912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8340" h="6977874">
                <a:moveTo>
                  <a:pt x="196" y="6350"/>
                </a:moveTo>
                <a:lnTo>
                  <a:pt x="621015" y="0"/>
                </a:lnTo>
                <a:lnTo>
                  <a:pt x="3275316" y="6957060"/>
                </a:lnTo>
                <a:lnTo>
                  <a:pt x="3353421" y="6967537"/>
                </a:lnTo>
                <a:lnTo>
                  <a:pt x="716265" y="0"/>
                </a:lnTo>
                <a:lnTo>
                  <a:pt x="1954515" y="0"/>
                </a:lnTo>
                <a:lnTo>
                  <a:pt x="4618340" y="6972300"/>
                </a:lnTo>
                <a:lnTo>
                  <a:pt x="3357866" y="6959600"/>
                </a:lnTo>
                <a:lnTo>
                  <a:pt x="3246106" y="6951980"/>
                </a:lnTo>
                <a:lnTo>
                  <a:pt x="2043416" y="6959600"/>
                </a:lnTo>
                <a:lnTo>
                  <a:pt x="1941816" y="6965950"/>
                </a:lnTo>
                <a:lnTo>
                  <a:pt x="38296" y="6965950"/>
                </a:lnTo>
                <a:cubicBezTo>
                  <a:pt x="44646" y="6792383"/>
                  <a:pt x="28067" y="1949714"/>
                  <a:pt x="32054" y="1940719"/>
                </a:cubicBezTo>
                <a:cubicBezTo>
                  <a:pt x="36041" y="1946011"/>
                  <a:pt x="1974889" y="7009870"/>
                  <a:pt x="1979122" y="6970712"/>
                </a:cubicBezTo>
                <a:cubicBezTo>
                  <a:pt x="1983355" y="6931554"/>
                  <a:pt x="2036803" y="7014633"/>
                  <a:pt x="2041036" y="6956425"/>
                </a:cubicBezTo>
                <a:cubicBezTo>
                  <a:pt x="2045269" y="6898217"/>
                  <a:pt x="16989" y="1718734"/>
                  <a:pt x="24115" y="1712913"/>
                </a:cubicBezTo>
                <a:cubicBezTo>
                  <a:pt x="21963" y="1716088"/>
                  <a:pt x="-2414" y="546100"/>
                  <a:pt x="196" y="6350"/>
                </a:cubicBezTo>
                <a:close/>
              </a:path>
            </a:pathLst>
          </a:custGeom>
          <a:solidFill>
            <a:schemeClr val="bg1">
              <a:lumMod val="65000"/>
            </a:schemeClr>
          </a:solidFill>
        </p:spPr>
        <p:txBody>
          <a:bodyPr lIns="684000" tIns="3096000"/>
          <a:lstStyle>
            <a:lvl1pPr>
              <a:defRPr sz="1200" b="1">
                <a:solidFill>
                  <a:schemeClr val="bg1"/>
                </a:solidFill>
              </a:defRPr>
            </a:lvl1pPr>
          </a:lstStyle>
          <a:p>
            <a:endParaRPr lang="en-US" dirty="0"/>
          </a:p>
        </p:txBody>
      </p:sp>
    </p:spTree>
    <p:extLst>
      <p:ext uri="{BB962C8B-B14F-4D97-AF65-F5344CB8AC3E}">
        <p14:creationId xmlns:p14="http://schemas.microsoft.com/office/powerpoint/2010/main" val="3505604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CP8 Divider no image">
    <p:bg>
      <p:bgPr>
        <a:solidFill>
          <a:schemeClr val="accent2"/>
        </a:solid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600079" y="2226733"/>
            <a:ext cx="7896221" cy="3005667"/>
          </a:xfrm>
        </p:spPr>
        <p:txBody>
          <a:bodyPr anchor="t">
            <a:noAutofit/>
          </a:bodyPr>
          <a:lstStyle>
            <a:lvl1pPr>
              <a:lnSpc>
                <a:spcPts val="3600"/>
              </a:lnSpc>
              <a:defRPr sz="3600">
                <a:solidFill>
                  <a:schemeClr val="bg1"/>
                </a:solidFill>
              </a:defRPr>
            </a:lvl1pPr>
          </a:lstStyle>
          <a:p>
            <a:r>
              <a:rPr lang="en-US" dirty="0"/>
              <a:t>Click to edit Master title style</a:t>
            </a:r>
          </a:p>
        </p:txBody>
      </p:sp>
      <p:sp>
        <p:nvSpPr>
          <p:cNvPr id="5" name="Parallelogram 4"/>
          <p:cNvSpPr/>
          <p:nvPr userDrawn="1"/>
        </p:nvSpPr>
        <p:spPr>
          <a:xfrm>
            <a:off x="593726"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4149255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PB1 Pictures with headings">
    <p:bg>
      <p:bgPr>
        <a:solidFill>
          <a:schemeClr val="accent3"/>
        </a:solidFill>
        <a:effectLst/>
      </p:bgPr>
    </p:bg>
    <p:spTree>
      <p:nvGrpSpPr>
        <p:cNvPr id="1" name=""/>
        <p:cNvGrpSpPr/>
        <p:nvPr/>
      </p:nvGrpSpPr>
      <p:grpSpPr>
        <a:xfrm>
          <a:off x="0" y="0"/>
          <a:ext cx="0" cy="0"/>
          <a:chOff x="0" y="0"/>
          <a:chExt cx="0" cy="0"/>
        </a:xfrm>
      </p:grpSpPr>
      <p:sp>
        <p:nvSpPr>
          <p:cNvPr id="30" name="Picture Placeholder 26"/>
          <p:cNvSpPr>
            <a:spLocks noGrp="1"/>
          </p:cNvSpPr>
          <p:nvPr>
            <p:ph type="pic" sz="quarter" idx="13"/>
          </p:nvPr>
        </p:nvSpPr>
        <p:spPr>
          <a:xfrm>
            <a:off x="-771525" y="346559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3" name="Picture Placeholder 26"/>
          <p:cNvSpPr>
            <a:spLocks noGrp="1"/>
          </p:cNvSpPr>
          <p:nvPr>
            <p:ph type="pic" sz="quarter" idx="16"/>
          </p:nvPr>
        </p:nvSpPr>
        <p:spPr>
          <a:xfrm>
            <a:off x="552450" y="-12927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18" name="Text Placeholder 36"/>
          <p:cNvSpPr>
            <a:spLocks noGrp="1"/>
          </p:cNvSpPr>
          <p:nvPr>
            <p:ph type="body" sz="quarter" idx="25"/>
          </p:nvPr>
        </p:nvSpPr>
        <p:spPr>
          <a:xfrm>
            <a:off x="545306" y="287660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5" name="Text Placeholder 36"/>
          <p:cNvSpPr>
            <a:spLocks noGrp="1"/>
          </p:cNvSpPr>
          <p:nvPr>
            <p:ph type="body" sz="quarter" idx="26"/>
          </p:nvPr>
        </p:nvSpPr>
        <p:spPr>
          <a:xfrm>
            <a:off x="321469" y="347747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9" name="Picture Placeholder 26"/>
          <p:cNvSpPr>
            <a:spLocks noGrp="1"/>
          </p:cNvSpPr>
          <p:nvPr>
            <p:ph type="pic" sz="quarter" idx="27"/>
          </p:nvPr>
        </p:nvSpPr>
        <p:spPr>
          <a:xfrm>
            <a:off x="1872615" y="346559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6" name="Picture Placeholder 26"/>
          <p:cNvSpPr>
            <a:spLocks noGrp="1"/>
          </p:cNvSpPr>
          <p:nvPr>
            <p:ph type="pic" sz="quarter" idx="28"/>
          </p:nvPr>
        </p:nvSpPr>
        <p:spPr>
          <a:xfrm>
            <a:off x="3196590" y="-12927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43" name="Text Placeholder 36"/>
          <p:cNvSpPr>
            <a:spLocks noGrp="1"/>
          </p:cNvSpPr>
          <p:nvPr>
            <p:ph type="body" sz="quarter" idx="29"/>
          </p:nvPr>
        </p:nvSpPr>
        <p:spPr>
          <a:xfrm>
            <a:off x="3189446" y="287660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4" name="Text Placeholder 36"/>
          <p:cNvSpPr>
            <a:spLocks noGrp="1"/>
          </p:cNvSpPr>
          <p:nvPr>
            <p:ph type="body" sz="quarter" idx="30"/>
          </p:nvPr>
        </p:nvSpPr>
        <p:spPr>
          <a:xfrm>
            <a:off x="2965609" y="347747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5" name="Picture Placeholder 26"/>
          <p:cNvSpPr>
            <a:spLocks noGrp="1"/>
          </p:cNvSpPr>
          <p:nvPr>
            <p:ph type="pic" sz="quarter" idx="31"/>
          </p:nvPr>
        </p:nvSpPr>
        <p:spPr>
          <a:xfrm>
            <a:off x="4509136" y="3465595"/>
            <a:ext cx="3987164"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46" name="Picture Placeholder 26"/>
          <p:cNvSpPr>
            <a:spLocks noGrp="1"/>
          </p:cNvSpPr>
          <p:nvPr>
            <p:ph type="pic" sz="quarter" idx="32"/>
          </p:nvPr>
        </p:nvSpPr>
        <p:spPr>
          <a:xfrm>
            <a:off x="5833110" y="-129275"/>
            <a:ext cx="3977640"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47" name="Text Placeholder 36"/>
          <p:cNvSpPr>
            <a:spLocks noGrp="1"/>
          </p:cNvSpPr>
          <p:nvPr>
            <p:ph type="body" sz="quarter" idx="33"/>
          </p:nvPr>
        </p:nvSpPr>
        <p:spPr>
          <a:xfrm>
            <a:off x="5831790" y="287660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8" name="Text Placeholder 36"/>
          <p:cNvSpPr>
            <a:spLocks noGrp="1"/>
          </p:cNvSpPr>
          <p:nvPr>
            <p:ph type="body" sz="quarter" idx="34"/>
          </p:nvPr>
        </p:nvSpPr>
        <p:spPr>
          <a:xfrm>
            <a:off x="5607953" y="3477476"/>
            <a:ext cx="2886358" cy="605339"/>
          </a:xfrm>
          <a:prstGeom prst="parallelogram">
            <a:avLst>
              <a:gd name="adj" fmla="val 36466"/>
            </a:avLst>
          </a:prstGeom>
          <a:solidFill>
            <a:srgbClr val="172934">
              <a:alpha val="50196"/>
            </a:srgbClr>
          </a:solidFill>
        </p:spPr>
        <p:txBody>
          <a:bodyPr anchor="ctr"/>
          <a:lstStyle>
            <a:lvl1pPr algn="l">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414875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PB2 Pictures with headings">
    <p:bg>
      <p:bgPr>
        <a:solidFill>
          <a:schemeClr val="accent3"/>
        </a:solidFill>
        <a:effectLst/>
      </p:bgPr>
    </p:bg>
    <p:spTree>
      <p:nvGrpSpPr>
        <p:cNvPr id="1" name=""/>
        <p:cNvGrpSpPr/>
        <p:nvPr/>
      </p:nvGrpSpPr>
      <p:grpSpPr>
        <a:xfrm>
          <a:off x="0" y="0"/>
          <a:ext cx="0" cy="0"/>
          <a:chOff x="0" y="0"/>
          <a:chExt cx="0" cy="0"/>
        </a:xfrm>
      </p:grpSpPr>
      <p:sp>
        <p:nvSpPr>
          <p:cNvPr id="30" name="Picture Placeholder 26"/>
          <p:cNvSpPr>
            <a:spLocks noGrp="1"/>
          </p:cNvSpPr>
          <p:nvPr>
            <p:ph type="pic" sz="quarter" idx="13"/>
          </p:nvPr>
        </p:nvSpPr>
        <p:spPr>
          <a:xfrm>
            <a:off x="-771525" y="346559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1" name="Picture Placeholder 26"/>
          <p:cNvSpPr>
            <a:spLocks noGrp="1"/>
          </p:cNvSpPr>
          <p:nvPr>
            <p:ph type="pic" sz="quarter" idx="14"/>
          </p:nvPr>
        </p:nvSpPr>
        <p:spPr>
          <a:xfrm>
            <a:off x="1899779" y="346559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2" name="Picture Placeholder 26"/>
          <p:cNvSpPr>
            <a:spLocks noGrp="1"/>
          </p:cNvSpPr>
          <p:nvPr>
            <p:ph type="pic" sz="quarter" idx="15"/>
          </p:nvPr>
        </p:nvSpPr>
        <p:spPr>
          <a:xfrm>
            <a:off x="4580608" y="346559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3" name="Picture Placeholder 26"/>
          <p:cNvSpPr>
            <a:spLocks noGrp="1"/>
          </p:cNvSpPr>
          <p:nvPr>
            <p:ph type="pic" sz="quarter" idx="16"/>
          </p:nvPr>
        </p:nvSpPr>
        <p:spPr>
          <a:xfrm>
            <a:off x="552450" y="-12927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4" name="Picture Placeholder 26"/>
          <p:cNvSpPr>
            <a:spLocks noGrp="1"/>
          </p:cNvSpPr>
          <p:nvPr>
            <p:ph type="pic" sz="quarter" idx="17"/>
          </p:nvPr>
        </p:nvSpPr>
        <p:spPr>
          <a:xfrm>
            <a:off x="3223754" y="-129275"/>
            <a:ext cx="4006717" cy="3605900"/>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5" name="Picture Placeholder 26"/>
          <p:cNvSpPr>
            <a:spLocks noGrp="1"/>
          </p:cNvSpPr>
          <p:nvPr>
            <p:ph type="pic" sz="quarter" idx="18"/>
          </p:nvPr>
        </p:nvSpPr>
        <p:spPr>
          <a:xfrm>
            <a:off x="5904583" y="-129275"/>
            <a:ext cx="4006717" cy="3605900"/>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7" name="Text Placeholder 36"/>
          <p:cNvSpPr>
            <a:spLocks noGrp="1"/>
          </p:cNvSpPr>
          <p:nvPr>
            <p:ph type="body" sz="quarter" idx="19"/>
          </p:nvPr>
        </p:nvSpPr>
        <p:spPr>
          <a:xfrm>
            <a:off x="-190500" y="59150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38" name="Text Placeholder 36"/>
          <p:cNvSpPr>
            <a:spLocks noGrp="1"/>
          </p:cNvSpPr>
          <p:nvPr>
            <p:ph type="body" sz="quarter" idx="20"/>
          </p:nvPr>
        </p:nvSpPr>
        <p:spPr>
          <a:xfrm>
            <a:off x="4591050" y="361950"/>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39" name="Text Placeholder 36"/>
          <p:cNvSpPr>
            <a:spLocks noGrp="1"/>
          </p:cNvSpPr>
          <p:nvPr>
            <p:ph type="body" sz="quarter" idx="21"/>
          </p:nvPr>
        </p:nvSpPr>
        <p:spPr>
          <a:xfrm>
            <a:off x="3324225" y="3714750"/>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1" name="Text Placeholder 36"/>
          <p:cNvSpPr>
            <a:spLocks noGrp="1"/>
          </p:cNvSpPr>
          <p:nvPr>
            <p:ph type="body" sz="quarter" idx="23"/>
          </p:nvPr>
        </p:nvSpPr>
        <p:spPr>
          <a:xfrm>
            <a:off x="5172075" y="59150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42" name="Text Placeholder 36"/>
          <p:cNvSpPr>
            <a:spLocks noGrp="1"/>
          </p:cNvSpPr>
          <p:nvPr>
            <p:ph type="body" sz="quarter" idx="24"/>
          </p:nvPr>
        </p:nvSpPr>
        <p:spPr>
          <a:xfrm>
            <a:off x="6400800" y="26003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5" name="Text Placeholder 36"/>
          <p:cNvSpPr>
            <a:spLocks noGrp="1"/>
          </p:cNvSpPr>
          <p:nvPr>
            <p:ph type="body" sz="quarter" idx="25"/>
          </p:nvPr>
        </p:nvSpPr>
        <p:spPr>
          <a:xfrm>
            <a:off x="990600" y="2600325"/>
            <a:ext cx="2114550" cy="666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1124862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PB3 Pictures with headings">
    <p:bg>
      <p:bgPr>
        <a:solidFill>
          <a:schemeClr val="accent3"/>
        </a:solidFill>
        <a:effectLst/>
      </p:bgPr>
    </p:bg>
    <p:spTree>
      <p:nvGrpSpPr>
        <p:cNvPr id="1" name=""/>
        <p:cNvGrpSpPr/>
        <p:nvPr/>
      </p:nvGrpSpPr>
      <p:grpSpPr>
        <a:xfrm>
          <a:off x="0" y="0"/>
          <a:ext cx="0" cy="0"/>
          <a:chOff x="0" y="0"/>
          <a:chExt cx="0" cy="0"/>
        </a:xfrm>
      </p:grpSpPr>
      <p:sp>
        <p:nvSpPr>
          <p:cNvPr id="30" name="Picture Placeholder 26"/>
          <p:cNvSpPr>
            <a:spLocks noGrp="1"/>
          </p:cNvSpPr>
          <p:nvPr>
            <p:ph type="pic" sz="quarter" idx="13"/>
          </p:nvPr>
        </p:nvSpPr>
        <p:spPr>
          <a:xfrm>
            <a:off x="-7510" y="3427229"/>
            <a:ext cx="3863072" cy="3476625"/>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31" name="Picture Placeholder 26"/>
          <p:cNvSpPr>
            <a:spLocks noGrp="1"/>
          </p:cNvSpPr>
          <p:nvPr>
            <p:ph type="pic" sz="quarter" idx="14"/>
          </p:nvPr>
        </p:nvSpPr>
        <p:spPr>
          <a:xfrm>
            <a:off x="2579646" y="3427229"/>
            <a:ext cx="3863072" cy="3476625"/>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3" name="Picture Placeholder 26"/>
          <p:cNvSpPr>
            <a:spLocks noGrp="1"/>
          </p:cNvSpPr>
          <p:nvPr>
            <p:ph type="pic" sz="quarter" idx="16"/>
          </p:nvPr>
        </p:nvSpPr>
        <p:spPr>
          <a:xfrm>
            <a:off x="1267779" y="-47517"/>
            <a:ext cx="3863072" cy="3476625"/>
          </a:xfrm>
          <a:prstGeom prst="parallelogram">
            <a:avLst>
              <a:gd name="adj" fmla="val 36616"/>
            </a:avLst>
          </a:prstGeom>
          <a:solidFill>
            <a:schemeClr val="bg1">
              <a:lumMod val="50000"/>
            </a:schemeClr>
          </a:solidFill>
        </p:spPr>
        <p:txBody>
          <a:bodyPr tIns="540000"/>
          <a:lstStyle>
            <a:lvl1pPr algn="ctr">
              <a:defRPr sz="1200" b="1">
                <a:solidFill>
                  <a:schemeClr val="bg1"/>
                </a:solidFill>
              </a:defRPr>
            </a:lvl1pPr>
          </a:lstStyle>
          <a:p>
            <a:endParaRPr lang="en-US"/>
          </a:p>
        </p:txBody>
      </p:sp>
      <p:sp>
        <p:nvSpPr>
          <p:cNvPr id="34" name="Picture Placeholder 26"/>
          <p:cNvSpPr>
            <a:spLocks noGrp="1"/>
          </p:cNvSpPr>
          <p:nvPr>
            <p:ph type="pic" sz="quarter" idx="17"/>
          </p:nvPr>
        </p:nvSpPr>
        <p:spPr>
          <a:xfrm>
            <a:off x="3858119" y="-47517"/>
            <a:ext cx="3863072" cy="3476625"/>
          </a:xfrm>
          <a:prstGeom prst="parallelogram">
            <a:avLst>
              <a:gd name="adj" fmla="val 36616"/>
            </a:avLst>
          </a:prstGeom>
          <a:solidFill>
            <a:schemeClr val="bg1">
              <a:lumMod val="65000"/>
            </a:schemeClr>
          </a:solidFill>
        </p:spPr>
        <p:txBody>
          <a:bodyPr tIns="540000"/>
          <a:lstStyle>
            <a:lvl1pPr algn="ctr">
              <a:defRPr sz="1200" b="1">
                <a:solidFill>
                  <a:schemeClr val="bg1"/>
                </a:solidFill>
              </a:defRPr>
            </a:lvl1pPr>
          </a:lstStyle>
          <a:p>
            <a:endParaRPr lang="en-US"/>
          </a:p>
        </p:txBody>
      </p:sp>
      <p:sp>
        <p:nvSpPr>
          <p:cNvPr id="2" name="Title 1"/>
          <p:cNvSpPr>
            <a:spLocks noGrp="1"/>
          </p:cNvSpPr>
          <p:nvPr>
            <p:ph type="title"/>
          </p:nvPr>
        </p:nvSpPr>
        <p:spPr>
          <a:xfrm>
            <a:off x="6096000" y="4543426"/>
            <a:ext cx="2638424" cy="1495424"/>
          </a:xfrm>
        </p:spPr>
        <p:txBody>
          <a:bodyPr/>
          <a:lstStyle>
            <a:lvl1pPr algn="r">
              <a:lnSpc>
                <a:spcPct val="100000"/>
              </a:lnSpc>
              <a:defRPr sz="36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890165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 body with image white">
    <p:bg>
      <p:bgPr>
        <a:solidFill>
          <a:schemeClr val="bg1"/>
        </a:solidFill>
        <a:effectLst/>
      </p:bgPr>
    </p:bg>
    <p:spTree>
      <p:nvGrpSpPr>
        <p:cNvPr id="1" name=""/>
        <p:cNvGrpSpPr/>
        <p:nvPr/>
      </p:nvGrpSpPr>
      <p:grpSpPr>
        <a:xfrm>
          <a:off x="0" y="0"/>
          <a:ext cx="0" cy="0"/>
          <a:chOff x="0" y="0"/>
          <a:chExt cx="0" cy="0"/>
        </a:xfrm>
      </p:grpSpPr>
      <p:sp>
        <p:nvSpPr>
          <p:cNvPr id="5" name="Parallelogram 4"/>
          <p:cNvSpPr/>
          <p:nvPr userDrawn="1"/>
        </p:nvSpPr>
        <p:spPr>
          <a:xfrm>
            <a:off x="593726" y="1364891"/>
            <a:ext cx="720000" cy="60959"/>
          </a:xfrm>
          <a:prstGeom prst="parallelogram">
            <a:avLst>
              <a:gd name="adj" fmla="val 3799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Text Placeholder 2"/>
          <p:cNvSpPr>
            <a:spLocks noGrp="1"/>
          </p:cNvSpPr>
          <p:nvPr>
            <p:ph type="body" sz="quarter" idx="11"/>
          </p:nvPr>
        </p:nvSpPr>
        <p:spPr>
          <a:xfrm>
            <a:off x="593726" y="1828800"/>
            <a:ext cx="3495674" cy="456035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600077" y="398977"/>
            <a:ext cx="4505323" cy="800867"/>
          </a:xfrm>
        </p:spPr>
        <p:txBody>
          <a:bodyPr/>
          <a:lstStyle/>
          <a:p>
            <a:r>
              <a:rPr lang="en-US"/>
              <a:t>Click to edit Master title style</a:t>
            </a:r>
          </a:p>
        </p:txBody>
      </p:sp>
      <p:sp>
        <p:nvSpPr>
          <p:cNvPr id="10" name="Picture Placeholder 9"/>
          <p:cNvSpPr>
            <a:spLocks noGrp="1"/>
          </p:cNvSpPr>
          <p:nvPr>
            <p:ph type="pic" sz="quarter" idx="12"/>
          </p:nvPr>
        </p:nvSpPr>
        <p:spPr>
          <a:xfrm>
            <a:off x="3654924" y="-50800"/>
            <a:ext cx="5489076" cy="6946412"/>
          </a:xfrm>
          <a:custGeom>
            <a:avLst/>
            <a:gdLst>
              <a:gd name="connsiteX0" fmla="*/ 0 w 5489076"/>
              <a:gd name="connsiteY0" fmla="*/ 0 h 6940062"/>
              <a:gd name="connsiteX1" fmla="*/ 5489076 w 5489076"/>
              <a:gd name="connsiteY1" fmla="*/ 0 h 6940062"/>
              <a:gd name="connsiteX2" fmla="*/ 5489076 w 5489076"/>
              <a:gd name="connsiteY2" fmla="*/ 6940062 h 6940062"/>
              <a:gd name="connsiteX3" fmla="*/ 0 w 5489076"/>
              <a:gd name="connsiteY3" fmla="*/ 6940062 h 6940062"/>
              <a:gd name="connsiteX4" fmla="*/ 0 w 5489076"/>
              <a:gd name="connsiteY4" fmla="*/ 0 h 6940062"/>
              <a:gd name="connsiteX0" fmla="*/ 0 w 5489076"/>
              <a:gd name="connsiteY0" fmla="*/ 6350 h 6946412"/>
              <a:gd name="connsiteX1" fmla="*/ 2606176 w 5489076"/>
              <a:gd name="connsiteY1" fmla="*/ 0 h 6946412"/>
              <a:gd name="connsiteX2" fmla="*/ 5489076 w 5489076"/>
              <a:gd name="connsiteY2" fmla="*/ 6350 h 6946412"/>
              <a:gd name="connsiteX3" fmla="*/ 5489076 w 5489076"/>
              <a:gd name="connsiteY3" fmla="*/ 6946412 h 6946412"/>
              <a:gd name="connsiteX4" fmla="*/ 0 w 5489076"/>
              <a:gd name="connsiteY4" fmla="*/ 6946412 h 6946412"/>
              <a:gd name="connsiteX5" fmla="*/ 0 w 5489076"/>
              <a:gd name="connsiteY5" fmla="*/ 6350 h 6946412"/>
              <a:gd name="connsiteX0" fmla="*/ 0 w 5489076"/>
              <a:gd name="connsiteY0" fmla="*/ 6350 h 6946412"/>
              <a:gd name="connsiteX1" fmla="*/ 2625226 w 5489076"/>
              <a:gd name="connsiteY1" fmla="*/ 0 h 6946412"/>
              <a:gd name="connsiteX2" fmla="*/ 5489076 w 5489076"/>
              <a:gd name="connsiteY2" fmla="*/ 6350 h 6946412"/>
              <a:gd name="connsiteX3" fmla="*/ 5489076 w 5489076"/>
              <a:gd name="connsiteY3" fmla="*/ 6946412 h 6946412"/>
              <a:gd name="connsiteX4" fmla="*/ 0 w 5489076"/>
              <a:gd name="connsiteY4" fmla="*/ 6946412 h 6946412"/>
              <a:gd name="connsiteX5" fmla="*/ 0 w 5489076"/>
              <a:gd name="connsiteY5" fmla="*/ 6350 h 6946412"/>
              <a:gd name="connsiteX0" fmla="*/ 0 w 5489076"/>
              <a:gd name="connsiteY0" fmla="*/ 6350 h 6946412"/>
              <a:gd name="connsiteX1" fmla="*/ 2644276 w 5489076"/>
              <a:gd name="connsiteY1" fmla="*/ 0 h 6946412"/>
              <a:gd name="connsiteX2" fmla="*/ 5489076 w 5489076"/>
              <a:gd name="connsiteY2" fmla="*/ 6350 h 6946412"/>
              <a:gd name="connsiteX3" fmla="*/ 5489076 w 5489076"/>
              <a:gd name="connsiteY3" fmla="*/ 6946412 h 6946412"/>
              <a:gd name="connsiteX4" fmla="*/ 0 w 5489076"/>
              <a:gd name="connsiteY4" fmla="*/ 6946412 h 6946412"/>
              <a:gd name="connsiteX5" fmla="*/ 0 w 5489076"/>
              <a:gd name="connsiteY5" fmla="*/ 6350 h 6946412"/>
              <a:gd name="connsiteX0" fmla="*/ 0 w 5489076"/>
              <a:gd name="connsiteY0" fmla="*/ 6946412 h 6946412"/>
              <a:gd name="connsiteX1" fmla="*/ 2644276 w 5489076"/>
              <a:gd name="connsiteY1" fmla="*/ 0 h 6946412"/>
              <a:gd name="connsiteX2" fmla="*/ 5489076 w 5489076"/>
              <a:gd name="connsiteY2" fmla="*/ 6350 h 6946412"/>
              <a:gd name="connsiteX3" fmla="*/ 5489076 w 5489076"/>
              <a:gd name="connsiteY3" fmla="*/ 6946412 h 6946412"/>
              <a:gd name="connsiteX4" fmla="*/ 0 w 5489076"/>
              <a:gd name="connsiteY4" fmla="*/ 6946412 h 6946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9076" h="6946412">
                <a:moveTo>
                  <a:pt x="0" y="6946412"/>
                </a:moveTo>
                <a:lnTo>
                  <a:pt x="2644276" y="0"/>
                </a:lnTo>
                <a:lnTo>
                  <a:pt x="5489076" y="6350"/>
                </a:lnTo>
                <a:lnTo>
                  <a:pt x="5489076" y="6946412"/>
                </a:lnTo>
                <a:lnTo>
                  <a:pt x="0" y="6946412"/>
                </a:lnTo>
                <a:close/>
              </a:path>
            </a:pathLst>
          </a:custGeom>
          <a:solidFill>
            <a:schemeClr val="bg1">
              <a:lumMod val="65000"/>
            </a:schemeClr>
          </a:solidFill>
        </p:spPr>
        <p:txBody>
          <a:bodyPr tIns="3060000"/>
          <a:lstStyle>
            <a:lvl1pPr algn="ctr">
              <a:defRPr sz="1200" b="1">
                <a:solidFill>
                  <a:schemeClr val="bg1"/>
                </a:solidFill>
              </a:defRPr>
            </a:lvl1pPr>
          </a:lstStyle>
          <a:p>
            <a:endParaRPr lang="en-US" dirty="0"/>
          </a:p>
        </p:txBody>
      </p:sp>
    </p:spTree>
    <p:extLst>
      <p:ext uri="{BB962C8B-B14F-4D97-AF65-F5344CB8AC3E}">
        <p14:creationId xmlns:p14="http://schemas.microsoft.com/office/powerpoint/2010/main" val="3510977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PB4 Pictures with headings">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318250" y="733426"/>
            <a:ext cx="2425699" cy="1495424"/>
          </a:xfrm>
        </p:spPr>
        <p:txBody>
          <a:bodyPr/>
          <a:lstStyle>
            <a:lvl1pPr algn="r">
              <a:lnSpc>
                <a:spcPct val="100000"/>
              </a:lnSpc>
              <a:defRPr sz="3600">
                <a:solidFill>
                  <a:schemeClr val="bg1"/>
                </a:solidFill>
              </a:defRPr>
            </a:lvl1pPr>
          </a:lstStyle>
          <a:p>
            <a:r>
              <a:rPr lang="en-US" dirty="0"/>
              <a:t>Click to edit Master title style</a:t>
            </a:r>
          </a:p>
        </p:txBody>
      </p:sp>
      <p:sp>
        <p:nvSpPr>
          <p:cNvPr id="4" name="Picture Placeholder 3"/>
          <p:cNvSpPr>
            <a:spLocks noGrp="1"/>
          </p:cNvSpPr>
          <p:nvPr>
            <p:ph type="pic" sz="quarter" idx="14"/>
          </p:nvPr>
        </p:nvSpPr>
        <p:spPr>
          <a:xfrm>
            <a:off x="2676426" y="-7620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50000"/>
            </a:schemeClr>
          </a:solidFill>
        </p:spPr>
        <p:txBody>
          <a:bodyPr tIns="1296000"/>
          <a:lstStyle>
            <a:lvl1pPr algn="ctr">
              <a:defRPr sz="1100" b="1">
                <a:solidFill>
                  <a:schemeClr val="bg1"/>
                </a:solidFill>
              </a:defRPr>
            </a:lvl1pPr>
          </a:lstStyle>
          <a:p>
            <a:endParaRPr lang="en-US"/>
          </a:p>
        </p:txBody>
      </p:sp>
      <p:sp>
        <p:nvSpPr>
          <p:cNvPr id="10" name="Picture Placeholder 3"/>
          <p:cNvSpPr>
            <a:spLocks noGrp="1"/>
          </p:cNvSpPr>
          <p:nvPr>
            <p:ph type="pic" sz="quarter" idx="15"/>
          </p:nvPr>
        </p:nvSpPr>
        <p:spPr>
          <a:xfrm>
            <a:off x="-44549" y="-7620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65000"/>
            </a:schemeClr>
          </a:solidFill>
        </p:spPr>
        <p:txBody>
          <a:bodyPr tIns="1296000"/>
          <a:lstStyle>
            <a:lvl1pPr algn="ctr">
              <a:defRPr sz="1100" b="1">
                <a:solidFill>
                  <a:schemeClr val="bg1"/>
                </a:solidFill>
              </a:defRPr>
            </a:lvl1pPr>
          </a:lstStyle>
          <a:p>
            <a:endParaRPr lang="en-US"/>
          </a:p>
        </p:txBody>
      </p:sp>
      <p:sp>
        <p:nvSpPr>
          <p:cNvPr id="11" name="Picture Placeholder 3"/>
          <p:cNvSpPr>
            <a:spLocks noGrp="1"/>
          </p:cNvSpPr>
          <p:nvPr>
            <p:ph type="pic" sz="quarter" idx="16"/>
          </p:nvPr>
        </p:nvSpPr>
        <p:spPr>
          <a:xfrm>
            <a:off x="4009926" y="343535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65000"/>
            </a:schemeClr>
          </a:solidFill>
        </p:spPr>
        <p:txBody>
          <a:bodyPr tIns="1296000"/>
          <a:lstStyle>
            <a:lvl1pPr algn="ctr">
              <a:defRPr sz="1100" b="1">
                <a:solidFill>
                  <a:schemeClr val="bg1"/>
                </a:solidFill>
              </a:defRPr>
            </a:lvl1pPr>
          </a:lstStyle>
          <a:p>
            <a:endParaRPr lang="en-US"/>
          </a:p>
        </p:txBody>
      </p:sp>
      <p:sp>
        <p:nvSpPr>
          <p:cNvPr id="12" name="Picture Placeholder 3"/>
          <p:cNvSpPr>
            <a:spLocks noGrp="1"/>
          </p:cNvSpPr>
          <p:nvPr>
            <p:ph type="pic" sz="quarter" idx="17"/>
          </p:nvPr>
        </p:nvSpPr>
        <p:spPr>
          <a:xfrm>
            <a:off x="1282601" y="3435350"/>
            <a:ext cx="4056090" cy="3511550"/>
          </a:xfrm>
          <a:custGeom>
            <a:avLst/>
            <a:gdLst>
              <a:gd name="connsiteX0" fmla="*/ 0 w 2722590"/>
              <a:gd name="connsiteY0" fmla="*/ 0 h 3505200"/>
              <a:gd name="connsiteX1" fmla="*/ 2722590 w 2722590"/>
              <a:gd name="connsiteY1" fmla="*/ 0 h 3505200"/>
              <a:gd name="connsiteX2" fmla="*/ 2722590 w 2722590"/>
              <a:gd name="connsiteY2" fmla="*/ 3505200 h 3505200"/>
              <a:gd name="connsiteX3" fmla="*/ 0 w 2722590"/>
              <a:gd name="connsiteY3" fmla="*/ 3505200 h 3505200"/>
              <a:gd name="connsiteX4" fmla="*/ 0 w 2722590"/>
              <a:gd name="connsiteY4" fmla="*/ 0 h 3505200"/>
              <a:gd name="connsiteX0" fmla="*/ 0 w 4056090"/>
              <a:gd name="connsiteY0" fmla="*/ 0 h 3511550"/>
              <a:gd name="connsiteX1" fmla="*/ 2722590 w 4056090"/>
              <a:gd name="connsiteY1" fmla="*/ 0 h 3511550"/>
              <a:gd name="connsiteX2" fmla="*/ 4056090 w 4056090"/>
              <a:gd name="connsiteY2" fmla="*/ 3511550 h 3511550"/>
              <a:gd name="connsiteX3" fmla="*/ 0 w 4056090"/>
              <a:gd name="connsiteY3" fmla="*/ 3505200 h 3511550"/>
              <a:gd name="connsiteX4" fmla="*/ 0 w 4056090"/>
              <a:gd name="connsiteY4" fmla="*/ 0 h 3511550"/>
              <a:gd name="connsiteX0" fmla="*/ 0 w 4056090"/>
              <a:gd name="connsiteY0" fmla="*/ 0 h 3511550"/>
              <a:gd name="connsiteX1" fmla="*/ 2722590 w 4056090"/>
              <a:gd name="connsiteY1" fmla="*/ 0 h 3511550"/>
              <a:gd name="connsiteX2" fmla="*/ 4056090 w 4056090"/>
              <a:gd name="connsiteY2" fmla="*/ 3511550 h 3511550"/>
              <a:gd name="connsiteX3" fmla="*/ 1320800 w 4056090"/>
              <a:gd name="connsiteY3" fmla="*/ 3511550 h 3511550"/>
              <a:gd name="connsiteX4" fmla="*/ 0 w 4056090"/>
              <a:gd name="connsiteY4" fmla="*/ 0 h 3511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6090" h="3511550">
                <a:moveTo>
                  <a:pt x="0" y="0"/>
                </a:moveTo>
                <a:lnTo>
                  <a:pt x="2722590" y="0"/>
                </a:lnTo>
                <a:lnTo>
                  <a:pt x="4056090" y="3511550"/>
                </a:lnTo>
                <a:lnTo>
                  <a:pt x="1320800" y="3511550"/>
                </a:lnTo>
                <a:lnTo>
                  <a:pt x="0" y="0"/>
                </a:lnTo>
                <a:close/>
              </a:path>
            </a:pathLst>
          </a:custGeom>
          <a:solidFill>
            <a:schemeClr val="bg1">
              <a:lumMod val="50000"/>
            </a:schemeClr>
          </a:solidFill>
        </p:spPr>
        <p:txBody>
          <a:bodyPr tIns="1296000"/>
          <a:lstStyle>
            <a:lvl1pPr algn="ctr">
              <a:defRPr sz="1100" b="1">
                <a:solidFill>
                  <a:schemeClr val="bg1"/>
                </a:solidFill>
              </a:defRPr>
            </a:lvl1pPr>
          </a:lstStyle>
          <a:p>
            <a:endParaRPr lang="en-US"/>
          </a:p>
        </p:txBody>
      </p:sp>
    </p:spTree>
    <p:extLst>
      <p:ext uri="{BB962C8B-B14F-4D97-AF65-F5344CB8AC3E}">
        <p14:creationId xmlns:p14="http://schemas.microsoft.com/office/powerpoint/2010/main" val="1165676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PB4 Divider with image">
    <p:bg>
      <p:bgPr>
        <a:solidFill>
          <a:schemeClr val="accent3"/>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0" hasCustomPrompt="1"/>
          </p:nvPr>
        </p:nvSpPr>
        <p:spPr>
          <a:xfrm>
            <a:off x="5041032" y="-34440"/>
            <a:ext cx="4159250" cy="6934219"/>
          </a:xfrm>
          <a:custGeom>
            <a:avLst/>
            <a:gdLst>
              <a:gd name="connsiteX0" fmla="*/ 0 w 5842000"/>
              <a:gd name="connsiteY0" fmla="*/ 5194314 h 5194314"/>
              <a:gd name="connsiteX1" fmla="*/ 1984540 w 5842000"/>
              <a:gd name="connsiteY1" fmla="*/ 0 h 5194314"/>
              <a:gd name="connsiteX2" fmla="*/ 5842000 w 5842000"/>
              <a:gd name="connsiteY2" fmla="*/ 0 h 5194314"/>
              <a:gd name="connsiteX3" fmla="*/ 3857460 w 5842000"/>
              <a:gd name="connsiteY3" fmla="*/ 5194314 h 5194314"/>
              <a:gd name="connsiteX4" fmla="*/ 0 w 5842000"/>
              <a:gd name="connsiteY4" fmla="*/ 5194314 h 5194314"/>
              <a:gd name="connsiteX0" fmla="*/ 0 w 4159250"/>
              <a:gd name="connsiteY0" fmla="*/ 5194314 h 5194314"/>
              <a:gd name="connsiteX1" fmla="*/ 1984540 w 4159250"/>
              <a:gd name="connsiteY1" fmla="*/ 0 h 5194314"/>
              <a:gd name="connsiteX2" fmla="*/ 4159250 w 4159250"/>
              <a:gd name="connsiteY2" fmla="*/ 0 h 5194314"/>
              <a:gd name="connsiteX3" fmla="*/ 3857460 w 4159250"/>
              <a:gd name="connsiteY3" fmla="*/ 5194314 h 5194314"/>
              <a:gd name="connsiteX4" fmla="*/ 0 w 4159250"/>
              <a:gd name="connsiteY4" fmla="*/ 5194314 h 5194314"/>
              <a:gd name="connsiteX0" fmla="*/ 0 w 4159250"/>
              <a:gd name="connsiteY0" fmla="*/ 5194314 h 5200664"/>
              <a:gd name="connsiteX1" fmla="*/ 1984540 w 4159250"/>
              <a:gd name="connsiteY1" fmla="*/ 0 h 5200664"/>
              <a:gd name="connsiteX2" fmla="*/ 4159250 w 4159250"/>
              <a:gd name="connsiteY2" fmla="*/ 0 h 5200664"/>
              <a:gd name="connsiteX3" fmla="*/ 4130510 w 4159250"/>
              <a:gd name="connsiteY3" fmla="*/ 5200664 h 5200664"/>
              <a:gd name="connsiteX4" fmla="*/ 0 w 4159250"/>
              <a:gd name="connsiteY4" fmla="*/ 5194314 h 5200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9250" h="5200664">
                <a:moveTo>
                  <a:pt x="0" y="5194314"/>
                </a:moveTo>
                <a:lnTo>
                  <a:pt x="1984540" y="0"/>
                </a:lnTo>
                <a:lnTo>
                  <a:pt x="4159250" y="0"/>
                </a:lnTo>
                <a:lnTo>
                  <a:pt x="4130510" y="5200664"/>
                </a:lnTo>
                <a:lnTo>
                  <a:pt x="0" y="5194314"/>
                </a:lnTo>
                <a:close/>
              </a:path>
            </a:pathLst>
          </a:custGeom>
          <a:solidFill>
            <a:schemeClr val="bg1">
              <a:lumMod val="65000"/>
            </a:schemeClr>
          </a:solidFill>
        </p:spPr>
        <p:txBody>
          <a:bodyPr lIns="1368000" tIns="2700000" rIns="180000">
            <a:normAutofit/>
          </a:bodyPr>
          <a:lstStyle>
            <a:lvl1pPr>
              <a:defRPr sz="1200" b="1" baseline="0">
                <a:solidFill>
                  <a:schemeClr val="bg1"/>
                </a:solidFill>
              </a:defRPr>
            </a:lvl1pPr>
          </a:lstStyle>
          <a:p>
            <a:r>
              <a:rPr lang="en-AU" dirty="0"/>
              <a:t>To insert an image click on icon or leave blank</a:t>
            </a:r>
            <a:endParaRPr lang="en-US" dirty="0"/>
          </a:p>
        </p:txBody>
      </p:sp>
      <p:sp>
        <p:nvSpPr>
          <p:cNvPr id="10" name="Title 9"/>
          <p:cNvSpPr>
            <a:spLocks noGrp="1"/>
          </p:cNvSpPr>
          <p:nvPr>
            <p:ph type="title"/>
          </p:nvPr>
        </p:nvSpPr>
        <p:spPr>
          <a:xfrm>
            <a:off x="600079" y="2226733"/>
            <a:ext cx="5292723" cy="3005667"/>
          </a:xfrm>
        </p:spPr>
        <p:txBody>
          <a:bodyPr anchor="t">
            <a:noAutofit/>
          </a:bodyPr>
          <a:lstStyle>
            <a:lvl1pPr>
              <a:lnSpc>
                <a:spcPts val="3600"/>
              </a:lnSpc>
              <a:defRPr sz="3600">
                <a:solidFill>
                  <a:schemeClr val="bg1"/>
                </a:solidFill>
              </a:defRPr>
            </a:lvl1pPr>
          </a:lstStyle>
          <a:p>
            <a:r>
              <a:rPr lang="en-US" dirty="0"/>
              <a:t>Click to edit Master title style</a:t>
            </a:r>
          </a:p>
        </p:txBody>
      </p:sp>
      <p:sp>
        <p:nvSpPr>
          <p:cNvPr id="5" name="Parallelogram 4"/>
          <p:cNvSpPr/>
          <p:nvPr userDrawn="1"/>
        </p:nvSpPr>
        <p:spPr>
          <a:xfrm>
            <a:off x="593726"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62865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B5 Divider with image">
    <p:bg>
      <p:bgPr>
        <a:solidFill>
          <a:schemeClr val="accent3"/>
        </a:solidFill>
        <a:effectLst/>
      </p:bgPr>
    </p:bg>
    <p:spTree>
      <p:nvGrpSpPr>
        <p:cNvPr id="1" name=""/>
        <p:cNvGrpSpPr/>
        <p:nvPr/>
      </p:nvGrpSpPr>
      <p:grpSpPr>
        <a:xfrm>
          <a:off x="0" y="0"/>
          <a:ext cx="0" cy="0"/>
          <a:chOff x="0" y="0"/>
          <a:chExt cx="0" cy="0"/>
        </a:xfrm>
      </p:grpSpPr>
      <p:sp>
        <p:nvSpPr>
          <p:cNvPr id="5" name="Parallelogram 4"/>
          <p:cNvSpPr/>
          <p:nvPr userDrawn="1"/>
        </p:nvSpPr>
        <p:spPr>
          <a:xfrm>
            <a:off x="593726"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Picture Placeholder 3"/>
          <p:cNvSpPr>
            <a:spLocks noGrp="1"/>
          </p:cNvSpPr>
          <p:nvPr>
            <p:ph type="pic" sz="quarter" idx="10"/>
          </p:nvPr>
        </p:nvSpPr>
        <p:spPr>
          <a:xfrm>
            <a:off x="3770313" y="-84138"/>
            <a:ext cx="5449887" cy="7018021"/>
          </a:xfrm>
          <a:custGeom>
            <a:avLst/>
            <a:gdLst>
              <a:gd name="connsiteX0" fmla="*/ 0 w 5449887"/>
              <a:gd name="connsiteY0" fmla="*/ 0 h 7010401"/>
              <a:gd name="connsiteX1" fmla="*/ 5449887 w 5449887"/>
              <a:gd name="connsiteY1" fmla="*/ 0 h 7010401"/>
              <a:gd name="connsiteX2" fmla="*/ 5449887 w 5449887"/>
              <a:gd name="connsiteY2" fmla="*/ 7010401 h 7010401"/>
              <a:gd name="connsiteX3" fmla="*/ 0 w 5449887"/>
              <a:gd name="connsiteY3" fmla="*/ 7010401 h 7010401"/>
              <a:gd name="connsiteX4" fmla="*/ 0 w 5449887"/>
              <a:gd name="connsiteY4" fmla="*/ 0 h 7010401"/>
              <a:gd name="connsiteX0" fmla="*/ 0 w 5449887"/>
              <a:gd name="connsiteY0" fmla="*/ 0 h 7018021"/>
              <a:gd name="connsiteX1" fmla="*/ 5449887 w 5449887"/>
              <a:gd name="connsiteY1" fmla="*/ 0 h 7018021"/>
              <a:gd name="connsiteX2" fmla="*/ 5449887 w 5449887"/>
              <a:gd name="connsiteY2" fmla="*/ 7010401 h 7018021"/>
              <a:gd name="connsiteX3" fmla="*/ 2659380 w 5449887"/>
              <a:gd name="connsiteY3" fmla="*/ 7018021 h 7018021"/>
              <a:gd name="connsiteX4" fmla="*/ 0 w 5449887"/>
              <a:gd name="connsiteY4" fmla="*/ 0 h 7018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9887" h="7018021">
                <a:moveTo>
                  <a:pt x="0" y="0"/>
                </a:moveTo>
                <a:lnTo>
                  <a:pt x="5449887" y="0"/>
                </a:lnTo>
                <a:lnTo>
                  <a:pt x="5449887" y="7010401"/>
                </a:lnTo>
                <a:lnTo>
                  <a:pt x="2659380" y="7018021"/>
                </a:lnTo>
                <a:lnTo>
                  <a:pt x="0" y="0"/>
                </a:lnTo>
                <a:close/>
              </a:path>
            </a:pathLst>
          </a:custGeom>
          <a:solidFill>
            <a:schemeClr val="bg1">
              <a:lumMod val="65000"/>
            </a:schemeClr>
          </a:solidFill>
        </p:spPr>
        <p:txBody>
          <a:bodyPr lIns="2556000" tIns="3780000"/>
          <a:lstStyle>
            <a:lvl1pPr>
              <a:defRPr sz="1400" b="1">
                <a:solidFill>
                  <a:schemeClr val="bg1"/>
                </a:solidFill>
              </a:defRPr>
            </a:lvl1pPr>
          </a:lstStyle>
          <a:p>
            <a:endParaRPr lang="en-US"/>
          </a:p>
        </p:txBody>
      </p:sp>
      <p:sp>
        <p:nvSpPr>
          <p:cNvPr id="3" name="Text Placeholder 2"/>
          <p:cNvSpPr>
            <a:spLocks noGrp="1"/>
          </p:cNvSpPr>
          <p:nvPr>
            <p:ph type="body" sz="quarter" idx="11"/>
          </p:nvPr>
        </p:nvSpPr>
        <p:spPr>
          <a:xfrm>
            <a:off x="593726" y="2600325"/>
            <a:ext cx="3759199" cy="2524126"/>
          </a:xfrm>
        </p:spPr>
        <p:txBody>
          <a:bodyPr/>
          <a:lstStyle>
            <a:lvl1pPr>
              <a:defRPr sz="3600">
                <a:solidFill>
                  <a:schemeClr val="bg1"/>
                </a:solidFill>
                <a:latin typeface="Segoe UI Light" panose="020B0502040204020203" pitchFamily="34" charset="0"/>
              </a:defRPr>
            </a:lvl1pPr>
            <a:lvl2pPr>
              <a:defRPr sz="3600">
                <a:latin typeface="Segoe UI Light" panose="020B0502040204020203" pitchFamily="34" charset="0"/>
              </a:defRPr>
            </a:lvl2pPr>
            <a:lvl3pPr>
              <a:defRPr sz="3600">
                <a:latin typeface="Segoe UI Light" panose="020B0502040204020203" pitchFamily="34" charset="0"/>
              </a:defRPr>
            </a:lvl3pPr>
            <a:lvl4pPr>
              <a:defRPr sz="3600">
                <a:latin typeface="Segoe UI Light" panose="020B0502040204020203" pitchFamily="34" charset="0"/>
              </a:defRPr>
            </a:lvl4pPr>
            <a:lvl5pPr>
              <a:defRPr sz="3600">
                <a:latin typeface="Segoe UI Light" panose="020B0502040204020203" pitchFamily="34" charset="0"/>
              </a:defRPr>
            </a:lvl5pPr>
          </a:lstStyle>
          <a:p>
            <a:pPr lvl="0"/>
            <a:r>
              <a:rPr lang="en-US" dirty="0"/>
              <a:t>Click to edit Master text styles</a:t>
            </a:r>
          </a:p>
        </p:txBody>
      </p:sp>
    </p:spTree>
    <p:extLst>
      <p:ext uri="{BB962C8B-B14F-4D97-AF65-F5344CB8AC3E}">
        <p14:creationId xmlns:p14="http://schemas.microsoft.com/office/powerpoint/2010/main" val="1834053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PB6 Divider with image">
    <p:bg>
      <p:bgPr>
        <a:solidFill>
          <a:schemeClr val="accent3"/>
        </a:solidFill>
        <a:effectLst/>
      </p:bgPr>
    </p:bg>
    <p:spTree>
      <p:nvGrpSpPr>
        <p:cNvPr id="1" name=""/>
        <p:cNvGrpSpPr/>
        <p:nvPr/>
      </p:nvGrpSpPr>
      <p:grpSpPr>
        <a:xfrm>
          <a:off x="0" y="0"/>
          <a:ext cx="0" cy="0"/>
          <a:chOff x="0" y="0"/>
          <a:chExt cx="0" cy="0"/>
        </a:xfrm>
      </p:grpSpPr>
      <p:sp>
        <p:nvSpPr>
          <p:cNvPr id="5" name="Parallelogram 4"/>
          <p:cNvSpPr/>
          <p:nvPr userDrawn="1"/>
        </p:nvSpPr>
        <p:spPr>
          <a:xfrm>
            <a:off x="4927601"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sp>
        <p:nvSpPr>
          <p:cNvPr id="3" name="Text Placeholder 2"/>
          <p:cNvSpPr>
            <a:spLocks noGrp="1"/>
          </p:cNvSpPr>
          <p:nvPr>
            <p:ph type="body" sz="quarter" idx="11"/>
          </p:nvPr>
        </p:nvSpPr>
        <p:spPr>
          <a:xfrm>
            <a:off x="4927601" y="2600325"/>
            <a:ext cx="3759199" cy="2524126"/>
          </a:xfrm>
        </p:spPr>
        <p:txBody>
          <a:bodyPr/>
          <a:lstStyle>
            <a:lvl1pPr>
              <a:defRPr sz="3600">
                <a:solidFill>
                  <a:schemeClr val="bg1"/>
                </a:solidFill>
                <a:latin typeface="Segoe UI Light" panose="020B0502040204020203" pitchFamily="34" charset="0"/>
              </a:defRPr>
            </a:lvl1pPr>
            <a:lvl2pPr>
              <a:defRPr sz="3600">
                <a:latin typeface="Segoe UI Light" panose="020B0502040204020203" pitchFamily="34" charset="0"/>
              </a:defRPr>
            </a:lvl2pPr>
            <a:lvl3pPr>
              <a:defRPr sz="3600">
                <a:latin typeface="Segoe UI Light" panose="020B0502040204020203" pitchFamily="34" charset="0"/>
              </a:defRPr>
            </a:lvl3pPr>
            <a:lvl4pPr>
              <a:defRPr sz="3600">
                <a:latin typeface="Segoe UI Light" panose="020B0502040204020203" pitchFamily="34" charset="0"/>
              </a:defRPr>
            </a:lvl4pPr>
            <a:lvl5pPr>
              <a:defRPr sz="3600">
                <a:latin typeface="Segoe UI Light" panose="020B0502040204020203" pitchFamily="34" charset="0"/>
              </a:defRPr>
            </a:lvl5pPr>
          </a:lstStyle>
          <a:p>
            <a:pPr lvl="0"/>
            <a:r>
              <a:rPr lang="en-US" dirty="0"/>
              <a:t>Click to edit Master text styles</a:t>
            </a:r>
          </a:p>
        </p:txBody>
      </p:sp>
      <p:sp>
        <p:nvSpPr>
          <p:cNvPr id="6" name="Picture Placeholder 5"/>
          <p:cNvSpPr>
            <a:spLocks noGrp="1"/>
          </p:cNvSpPr>
          <p:nvPr>
            <p:ph type="pic" sz="quarter" idx="12"/>
          </p:nvPr>
        </p:nvSpPr>
        <p:spPr>
          <a:xfrm>
            <a:off x="-73025" y="-57151"/>
            <a:ext cx="5575300" cy="6988317"/>
          </a:xfrm>
          <a:custGeom>
            <a:avLst/>
            <a:gdLst>
              <a:gd name="connsiteX0" fmla="*/ 0 w 3441700"/>
              <a:gd name="connsiteY0" fmla="*/ 0 h 6940692"/>
              <a:gd name="connsiteX1" fmla="*/ 3441700 w 3441700"/>
              <a:gd name="connsiteY1" fmla="*/ 0 h 6940692"/>
              <a:gd name="connsiteX2" fmla="*/ 3441700 w 3441700"/>
              <a:gd name="connsiteY2" fmla="*/ 6940692 h 6940692"/>
              <a:gd name="connsiteX3" fmla="*/ 0 w 3441700"/>
              <a:gd name="connsiteY3" fmla="*/ 6940692 h 6940692"/>
              <a:gd name="connsiteX4" fmla="*/ 0 w 3441700"/>
              <a:gd name="connsiteY4" fmla="*/ 0 h 6940692"/>
              <a:gd name="connsiteX0" fmla="*/ 0 w 3441700"/>
              <a:gd name="connsiteY0" fmla="*/ 6349 h 6947041"/>
              <a:gd name="connsiteX1" fmla="*/ 831850 w 3441700"/>
              <a:gd name="connsiteY1" fmla="*/ 0 h 6947041"/>
              <a:gd name="connsiteX2" fmla="*/ 3441700 w 3441700"/>
              <a:gd name="connsiteY2" fmla="*/ 6349 h 6947041"/>
              <a:gd name="connsiteX3" fmla="*/ 3441700 w 3441700"/>
              <a:gd name="connsiteY3" fmla="*/ 6947041 h 6947041"/>
              <a:gd name="connsiteX4" fmla="*/ 0 w 3441700"/>
              <a:gd name="connsiteY4" fmla="*/ 6947041 h 6947041"/>
              <a:gd name="connsiteX5" fmla="*/ 0 w 3441700"/>
              <a:gd name="connsiteY5" fmla="*/ 6349 h 6947041"/>
              <a:gd name="connsiteX0" fmla="*/ 0 w 3441700"/>
              <a:gd name="connsiteY0" fmla="*/ 6349 h 6947041"/>
              <a:gd name="connsiteX1" fmla="*/ 831850 w 3441700"/>
              <a:gd name="connsiteY1" fmla="*/ 0 h 6947041"/>
              <a:gd name="connsiteX2" fmla="*/ 3441700 w 3441700"/>
              <a:gd name="connsiteY2" fmla="*/ 6947041 h 6947041"/>
              <a:gd name="connsiteX3" fmla="*/ 0 w 3441700"/>
              <a:gd name="connsiteY3" fmla="*/ 6947041 h 6947041"/>
              <a:gd name="connsiteX4" fmla="*/ 0 w 3441700"/>
              <a:gd name="connsiteY4" fmla="*/ 6349 h 6947041"/>
              <a:gd name="connsiteX0" fmla="*/ 0 w 3441700"/>
              <a:gd name="connsiteY0" fmla="*/ 6349 h 6947041"/>
              <a:gd name="connsiteX1" fmla="*/ 806450 w 3441700"/>
              <a:gd name="connsiteY1" fmla="*/ 0 h 6947041"/>
              <a:gd name="connsiteX2" fmla="*/ 3441700 w 3441700"/>
              <a:gd name="connsiteY2" fmla="*/ 6947041 h 6947041"/>
              <a:gd name="connsiteX3" fmla="*/ 0 w 3441700"/>
              <a:gd name="connsiteY3" fmla="*/ 6947041 h 6947041"/>
              <a:gd name="connsiteX4" fmla="*/ 0 w 3441700"/>
              <a:gd name="connsiteY4" fmla="*/ 6349 h 6947041"/>
              <a:gd name="connsiteX0" fmla="*/ 0 w 3441700"/>
              <a:gd name="connsiteY0" fmla="*/ 0 h 6940692"/>
              <a:gd name="connsiteX1" fmla="*/ 819150 w 3441700"/>
              <a:gd name="connsiteY1" fmla="*/ 1 h 6940692"/>
              <a:gd name="connsiteX2" fmla="*/ 3441700 w 3441700"/>
              <a:gd name="connsiteY2" fmla="*/ 6940692 h 6940692"/>
              <a:gd name="connsiteX3" fmla="*/ 0 w 3441700"/>
              <a:gd name="connsiteY3" fmla="*/ 6940692 h 6940692"/>
              <a:gd name="connsiteX4" fmla="*/ 0 w 3441700"/>
              <a:gd name="connsiteY4" fmla="*/ 0 h 6940692"/>
              <a:gd name="connsiteX0" fmla="*/ 0 w 5575300"/>
              <a:gd name="connsiteY0" fmla="*/ 0 h 6959742"/>
              <a:gd name="connsiteX1" fmla="*/ 2952750 w 5575300"/>
              <a:gd name="connsiteY1" fmla="*/ 19051 h 6959742"/>
              <a:gd name="connsiteX2" fmla="*/ 5575300 w 5575300"/>
              <a:gd name="connsiteY2" fmla="*/ 6959742 h 6959742"/>
              <a:gd name="connsiteX3" fmla="*/ 2133600 w 5575300"/>
              <a:gd name="connsiteY3" fmla="*/ 6959742 h 6959742"/>
              <a:gd name="connsiteX4" fmla="*/ 0 w 5575300"/>
              <a:gd name="connsiteY4" fmla="*/ 0 h 6959742"/>
              <a:gd name="connsiteX0" fmla="*/ 0 w 5575300"/>
              <a:gd name="connsiteY0" fmla="*/ 0 h 6988317"/>
              <a:gd name="connsiteX1" fmla="*/ 2952750 w 5575300"/>
              <a:gd name="connsiteY1" fmla="*/ 19051 h 6988317"/>
              <a:gd name="connsiteX2" fmla="*/ 5575300 w 5575300"/>
              <a:gd name="connsiteY2" fmla="*/ 6959742 h 6988317"/>
              <a:gd name="connsiteX3" fmla="*/ 0 w 5575300"/>
              <a:gd name="connsiteY3" fmla="*/ 6988317 h 6988317"/>
              <a:gd name="connsiteX4" fmla="*/ 0 w 5575300"/>
              <a:gd name="connsiteY4" fmla="*/ 0 h 6988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5300" h="6988317">
                <a:moveTo>
                  <a:pt x="0" y="0"/>
                </a:moveTo>
                <a:lnTo>
                  <a:pt x="2952750" y="19051"/>
                </a:lnTo>
                <a:lnTo>
                  <a:pt x="5575300" y="6959742"/>
                </a:lnTo>
                <a:lnTo>
                  <a:pt x="0" y="6988317"/>
                </a:lnTo>
                <a:lnTo>
                  <a:pt x="0" y="0"/>
                </a:lnTo>
                <a:close/>
              </a:path>
            </a:pathLst>
          </a:custGeom>
          <a:solidFill>
            <a:schemeClr val="bg1">
              <a:lumMod val="65000"/>
            </a:schemeClr>
          </a:solidFill>
        </p:spPr>
        <p:txBody>
          <a:bodyPr lIns="216000" tIns="3060000"/>
          <a:lstStyle>
            <a:lvl1pPr algn="ctr">
              <a:defRPr sz="1400" b="1">
                <a:solidFill>
                  <a:schemeClr val="bg1"/>
                </a:solidFill>
              </a:defRPr>
            </a:lvl1pPr>
          </a:lstStyle>
          <a:p>
            <a:endParaRPr lang="en-US"/>
          </a:p>
        </p:txBody>
      </p:sp>
    </p:spTree>
    <p:extLst>
      <p:ext uri="{BB962C8B-B14F-4D97-AF65-F5344CB8AC3E}">
        <p14:creationId xmlns:p14="http://schemas.microsoft.com/office/powerpoint/2010/main" val="3807525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PB7 Divider with image">
    <p:bg>
      <p:bgPr>
        <a:solidFill>
          <a:schemeClr val="accent3"/>
        </a:solid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3943354" y="2226733"/>
            <a:ext cx="4600571" cy="3005667"/>
          </a:xfrm>
        </p:spPr>
        <p:txBody>
          <a:bodyPr anchor="t">
            <a:noAutofit/>
          </a:bodyPr>
          <a:lstStyle>
            <a:lvl1pPr>
              <a:lnSpc>
                <a:spcPts val="3600"/>
              </a:lnSpc>
              <a:defRPr sz="3600">
                <a:solidFill>
                  <a:schemeClr val="bg1"/>
                </a:solidFill>
              </a:defRPr>
            </a:lvl1pPr>
          </a:lstStyle>
          <a:p>
            <a:r>
              <a:rPr lang="en-US" dirty="0"/>
              <a:t>Click to edit Master title style</a:t>
            </a:r>
          </a:p>
        </p:txBody>
      </p:sp>
      <p:sp>
        <p:nvSpPr>
          <p:cNvPr id="5" name="Parallelogram 4"/>
          <p:cNvSpPr/>
          <p:nvPr userDrawn="1"/>
        </p:nvSpPr>
        <p:spPr>
          <a:xfrm>
            <a:off x="3937001"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Picture Placeholder 14"/>
          <p:cNvSpPr>
            <a:spLocks noGrp="1"/>
          </p:cNvSpPr>
          <p:nvPr>
            <p:ph type="pic" sz="quarter" idx="12"/>
          </p:nvPr>
        </p:nvSpPr>
        <p:spPr>
          <a:xfrm>
            <a:off x="-74915" y="-76200"/>
            <a:ext cx="4618340" cy="6977874"/>
          </a:xfrm>
          <a:custGeom>
            <a:avLst/>
            <a:gdLst>
              <a:gd name="connsiteX0" fmla="*/ 0 w 4618144"/>
              <a:gd name="connsiteY0" fmla="*/ 0 h 6965950"/>
              <a:gd name="connsiteX1" fmla="*/ 4618144 w 4618144"/>
              <a:gd name="connsiteY1" fmla="*/ 0 h 6965950"/>
              <a:gd name="connsiteX2" fmla="*/ 4618144 w 4618144"/>
              <a:gd name="connsiteY2" fmla="*/ 6965950 h 6965950"/>
              <a:gd name="connsiteX3" fmla="*/ 0 w 4618144"/>
              <a:gd name="connsiteY3" fmla="*/ 6965950 h 6965950"/>
              <a:gd name="connsiteX4" fmla="*/ 0 w 4618144"/>
              <a:gd name="connsiteY4" fmla="*/ 0 h 6965950"/>
              <a:gd name="connsiteX0" fmla="*/ 0 w 4618144"/>
              <a:gd name="connsiteY0" fmla="*/ 6350 h 6972300"/>
              <a:gd name="connsiteX1" fmla="*/ 1954319 w 4618144"/>
              <a:gd name="connsiteY1" fmla="*/ 0 h 6972300"/>
              <a:gd name="connsiteX2" fmla="*/ 4618144 w 4618144"/>
              <a:gd name="connsiteY2" fmla="*/ 6350 h 6972300"/>
              <a:gd name="connsiteX3" fmla="*/ 4618144 w 4618144"/>
              <a:gd name="connsiteY3" fmla="*/ 6972300 h 6972300"/>
              <a:gd name="connsiteX4" fmla="*/ 0 w 4618144"/>
              <a:gd name="connsiteY4" fmla="*/ 6972300 h 6972300"/>
              <a:gd name="connsiteX5" fmla="*/ 0 w 4618144"/>
              <a:gd name="connsiteY5" fmla="*/ 6350 h 6972300"/>
              <a:gd name="connsiteX0" fmla="*/ 0 w 4618144"/>
              <a:gd name="connsiteY0" fmla="*/ 6350 h 6972300"/>
              <a:gd name="connsiteX1" fmla="*/ 716069 w 4618144"/>
              <a:gd name="connsiteY1" fmla="*/ 0 h 6972300"/>
              <a:gd name="connsiteX2" fmla="*/ 1954319 w 4618144"/>
              <a:gd name="connsiteY2" fmla="*/ 0 h 6972300"/>
              <a:gd name="connsiteX3" fmla="*/ 4618144 w 4618144"/>
              <a:gd name="connsiteY3" fmla="*/ 6350 h 6972300"/>
              <a:gd name="connsiteX4" fmla="*/ 4618144 w 4618144"/>
              <a:gd name="connsiteY4" fmla="*/ 6972300 h 6972300"/>
              <a:gd name="connsiteX5" fmla="*/ 0 w 4618144"/>
              <a:gd name="connsiteY5" fmla="*/ 6972300 h 6972300"/>
              <a:gd name="connsiteX6" fmla="*/ 0 w 4618144"/>
              <a:gd name="connsiteY6" fmla="*/ 6350 h 6972300"/>
              <a:gd name="connsiteX0" fmla="*/ 0 w 4618144"/>
              <a:gd name="connsiteY0" fmla="*/ 6350 h 6972300"/>
              <a:gd name="connsiteX1" fmla="*/ 620819 w 4618144"/>
              <a:gd name="connsiteY1" fmla="*/ 0 h 6972300"/>
              <a:gd name="connsiteX2" fmla="*/ 716069 w 4618144"/>
              <a:gd name="connsiteY2" fmla="*/ 0 h 6972300"/>
              <a:gd name="connsiteX3" fmla="*/ 1954319 w 4618144"/>
              <a:gd name="connsiteY3" fmla="*/ 0 h 6972300"/>
              <a:gd name="connsiteX4" fmla="*/ 4618144 w 4618144"/>
              <a:gd name="connsiteY4" fmla="*/ 6350 h 6972300"/>
              <a:gd name="connsiteX5" fmla="*/ 4618144 w 4618144"/>
              <a:gd name="connsiteY5" fmla="*/ 6972300 h 6972300"/>
              <a:gd name="connsiteX6" fmla="*/ 0 w 4618144"/>
              <a:gd name="connsiteY6" fmla="*/ 6972300 h 6972300"/>
              <a:gd name="connsiteX7" fmla="*/ 0 w 4618144"/>
              <a:gd name="connsiteY7" fmla="*/ 6350 h 6972300"/>
              <a:gd name="connsiteX0" fmla="*/ 7831 w 4625975"/>
              <a:gd name="connsiteY0" fmla="*/ 6350 h 6972300"/>
              <a:gd name="connsiteX1" fmla="*/ 628650 w 4625975"/>
              <a:gd name="connsiteY1" fmla="*/ 0 h 6972300"/>
              <a:gd name="connsiteX2" fmla="*/ 723900 w 4625975"/>
              <a:gd name="connsiteY2" fmla="*/ 0 h 6972300"/>
              <a:gd name="connsiteX3" fmla="*/ 1962150 w 4625975"/>
              <a:gd name="connsiteY3" fmla="*/ 0 h 6972300"/>
              <a:gd name="connsiteX4" fmla="*/ 4625975 w 4625975"/>
              <a:gd name="connsiteY4" fmla="*/ 6350 h 6972300"/>
              <a:gd name="connsiteX5" fmla="*/ 4625975 w 4625975"/>
              <a:gd name="connsiteY5" fmla="*/ 6972300 h 6972300"/>
              <a:gd name="connsiteX6" fmla="*/ 7831 w 4625975"/>
              <a:gd name="connsiteY6" fmla="*/ 6972300 h 6972300"/>
              <a:gd name="connsiteX7" fmla="*/ 0 w 4625975"/>
              <a:gd name="connsiteY7" fmla="*/ 1625600 h 6972300"/>
              <a:gd name="connsiteX8" fmla="*/ 7831 w 4625975"/>
              <a:gd name="connsiteY8"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46555 w 4964699"/>
              <a:gd name="connsiteY6" fmla="*/ 6972300 h 6972300"/>
              <a:gd name="connsiteX7" fmla="*/ 332375 w 4964699"/>
              <a:gd name="connsiteY7" fmla="*/ 1841500 h 6972300"/>
              <a:gd name="connsiteX8" fmla="*/ 338724 w 4964699"/>
              <a:gd name="connsiteY8" fmla="*/ 1625600 h 6972300"/>
              <a:gd name="connsiteX9" fmla="*/ 346555 w 4964699"/>
              <a:gd name="connsiteY9"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2288175 w 4964699"/>
              <a:gd name="connsiteY6" fmla="*/ 6965950 h 6972300"/>
              <a:gd name="connsiteX7" fmla="*/ 346555 w 4964699"/>
              <a:gd name="connsiteY7" fmla="*/ 6972300 h 6972300"/>
              <a:gd name="connsiteX8" fmla="*/ 332375 w 4964699"/>
              <a:gd name="connsiteY8" fmla="*/ 1841500 h 6972300"/>
              <a:gd name="connsiteX9" fmla="*/ 338724 w 4964699"/>
              <a:gd name="connsiteY9" fmla="*/ 1625600 h 6972300"/>
              <a:gd name="connsiteX10" fmla="*/ 346555 w 4964699"/>
              <a:gd name="connsiteY10"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2389775 w 4964699"/>
              <a:gd name="connsiteY6" fmla="*/ 6959600 h 6972300"/>
              <a:gd name="connsiteX7" fmla="*/ 2288175 w 4964699"/>
              <a:gd name="connsiteY7" fmla="*/ 6965950 h 6972300"/>
              <a:gd name="connsiteX8" fmla="*/ 346555 w 4964699"/>
              <a:gd name="connsiteY8" fmla="*/ 6972300 h 6972300"/>
              <a:gd name="connsiteX9" fmla="*/ 332375 w 4964699"/>
              <a:gd name="connsiteY9" fmla="*/ 1841500 h 6972300"/>
              <a:gd name="connsiteX10" fmla="*/ 338724 w 4964699"/>
              <a:gd name="connsiteY10" fmla="*/ 1625600 h 6972300"/>
              <a:gd name="connsiteX11" fmla="*/ 346555 w 4964699"/>
              <a:gd name="connsiteY11"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615325 w 4964699"/>
              <a:gd name="connsiteY6" fmla="*/ 6959600 h 6972300"/>
              <a:gd name="connsiteX7" fmla="*/ 2389775 w 4964699"/>
              <a:gd name="connsiteY7" fmla="*/ 6959600 h 6972300"/>
              <a:gd name="connsiteX8" fmla="*/ 2288175 w 4964699"/>
              <a:gd name="connsiteY8" fmla="*/ 6965950 h 6972300"/>
              <a:gd name="connsiteX9" fmla="*/ 346555 w 4964699"/>
              <a:gd name="connsiteY9" fmla="*/ 6972300 h 6972300"/>
              <a:gd name="connsiteX10" fmla="*/ 332375 w 4964699"/>
              <a:gd name="connsiteY10" fmla="*/ 1841500 h 6972300"/>
              <a:gd name="connsiteX11" fmla="*/ 338724 w 4964699"/>
              <a:gd name="connsiteY11" fmla="*/ 1625600 h 6972300"/>
              <a:gd name="connsiteX12" fmla="*/ 346555 w 4964699"/>
              <a:gd name="connsiteY12" fmla="*/ 6350 h 6972300"/>
              <a:gd name="connsiteX0" fmla="*/ 346555 w 4964699"/>
              <a:gd name="connsiteY0" fmla="*/ 6350 h 6972300"/>
              <a:gd name="connsiteX1" fmla="*/ 967374 w 4964699"/>
              <a:gd name="connsiteY1" fmla="*/ 0 h 6972300"/>
              <a:gd name="connsiteX2" fmla="*/ 1062624 w 4964699"/>
              <a:gd name="connsiteY2" fmla="*/ 0 h 6972300"/>
              <a:gd name="connsiteX3" fmla="*/ 2300874 w 4964699"/>
              <a:gd name="connsiteY3" fmla="*/ 0 h 6972300"/>
              <a:gd name="connsiteX4" fmla="*/ 4964699 w 4964699"/>
              <a:gd name="connsiteY4" fmla="*/ 6350 h 6972300"/>
              <a:gd name="connsiteX5" fmla="*/ 4964699 w 4964699"/>
              <a:gd name="connsiteY5" fmla="*/ 6972300 h 6972300"/>
              <a:gd name="connsiteX6" fmla="*/ 3704225 w 4964699"/>
              <a:gd name="connsiteY6" fmla="*/ 6959600 h 6972300"/>
              <a:gd name="connsiteX7" fmla="*/ 3615325 w 4964699"/>
              <a:gd name="connsiteY7" fmla="*/ 6959600 h 6972300"/>
              <a:gd name="connsiteX8" fmla="*/ 2389775 w 4964699"/>
              <a:gd name="connsiteY8" fmla="*/ 6959600 h 6972300"/>
              <a:gd name="connsiteX9" fmla="*/ 2288175 w 4964699"/>
              <a:gd name="connsiteY9" fmla="*/ 6965950 h 6972300"/>
              <a:gd name="connsiteX10" fmla="*/ 346555 w 4964699"/>
              <a:gd name="connsiteY10" fmla="*/ 6972300 h 6972300"/>
              <a:gd name="connsiteX11" fmla="*/ 332375 w 4964699"/>
              <a:gd name="connsiteY11" fmla="*/ 1841500 h 6972300"/>
              <a:gd name="connsiteX12" fmla="*/ 338724 w 4964699"/>
              <a:gd name="connsiteY12" fmla="*/ 1625600 h 6972300"/>
              <a:gd name="connsiteX13" fmla="*/ 346555 w 4964699"/>
              <a:gd name="connsiteY13" fmla="*/ 6350 h 6972300"/>
              <a:gd name="connsiteX0" fmla="*/ 346555 w 4964699"/>
              <a:gd name="connsiteY0" fmla="*/ 11113 h 6977063"/>
              <a:gd name="connsiteX1" fmla="*/ 967374 w 4964699"/>
              <a:gd name="connsiteY1" fmla="*/ 4763 h 6977063"/>
              <a:gd name="connsiteX2" fmla="*/ 1026113 w 4964699"/>
              <a:gd name="connsiteY2" fmla="*/ 0 h 6977063"/>
              <a:gd name="connsiteX3" fmla="*/ 1062624 w 4964699"/>
              <a:gd name="connsiteY3" fmla="*/ 4763 h 6977063"/>
              <a:gd name="connsiteX4" fmla="*/ 2300874 w 4964699"/>
              <a:gd name="connsiteY4" fmla="*/ 4763 h 6977063"/>
              <a:gd name="connsiteX5" fmla="*/ 4964699 w 4964699"/>
              <a:gd name="connsiteY5" fmla="*/ 11113 h 6977063"/>
              <a:gd name="connsiteX6" fmla="*/ 4964699 w 4964699"/>
              <a:gd name="connsiteY6" fmla="*/ 6977063 h 6977063"/>
              <a:gd name="connsiteX7" fmla="*/ 3704225 w 4964699"/>
              <a:gd name="connsiteY7" fmla="*/ 6964363 h 6977063"/>
              <a:gd name="connsiteX8" fmla="*/ 3615325 w 4964699"/>
              <a:gd name="connsiteY8" fmla="*/ 6964363 h 6977063"/>
              <a:gd name="connsiteX9" fmla="*/ 2389775 w 4964699"/>
              <a:gd name="connsiteY9" fmla="*/ 6964363 h 6977063"/>
              <a:gd name="connsiteX10" fmla="*/ 2288175 w 4964699"/>
              <a:gd name="connsiteY10" fmla="*/ 6970713 h 6977063"/>
              <a:gd name="connsiteX11" fmla="*/ 346555 w 4964699"/>
              <a:gd name="connsiteY11" fmla="*/ 6977063 h 6977063"/>
              <a:gd name="connsiteX12" fmla="*/ 332375 w 4964699"/>
              <a:gd name="connsiteY12" fmla="*/ 1846263 h 6977063"/>
              <a:gd name="connsiteX13" fmla="*/ 338724 w 4964699"/>
              <a:gd name="connsiteY13" fmla="*/ 1630363 h 6977063"/>
              <a:gd name="connsiteX14" fmla="*/ 346555 w 4964699"/>
              <a:gd name="connsiteY14" fmla="*/ 11113 h 6977063"/>
              <a:gd name="connsiteX0" fmla="*/ 346555 w 4964699"/>
              <a:gd name="connsiteY0" fmla="*/ 6350 h 6972300"/>
              <a:gd name="connsiteX1" fmla="*/ 967374 w 4964699"/>
              <a:gd name="connsiteY1" fmla="*/ 0 h 6972300"/>
              <a:gd name="connsiteX2" fmla="*/ 2526300 w 4964699"/>
              <a:gd name="connsiteY2" fmla="*/ 3881437 h 6972300"/>
              <a:gd name="connsiteX3" fmla="*/ 1062624 w 4964699"/>
              <a:gd name="connsiteY3" fmla="*/ 0 h 6972300"/>
              <a:gd name="connsiteX4" fmla="*/ 2300874 w 4964699"/>
              <a:gd name="connsiteY4" fmla="*/ 0 h 6972300"/>
              <a:gd name="connsiteX5" fmla="*/ 4964699 w 4964699"/>
              <a:gd name="connsiteY5" fmla="*/ 6350 h 6972300"/>
              <a:gd name="connsiteX6" fmla="*/ 4964699 w 4964699"/>
              <a:gd name="connsiteY6" fmla="*/ 6972300 h 6972300"/>
              <a:gd name="connsiteX7" fmla="*/ 3704225 w 4964699"/>
              <a:gd name="connsiteY7" fmla="*/ 6959600 h 6972300"/>
              <a:gd name="connsiteX8" fmla="*/ 3615325 w 4964699"/>
              <a:gd name="connsiteY8" fmla="*/ 6959600 h 6972300"/>
              <a:gd name="connsiteX9" fmla="*/ 2389775 w 4964699"/>
              <a:gd name="connsiteY9" fmla="*/ 6959600 h 6972300"/>
              <a:gd name="connsiteX10" fmla="*/ 2288175 w 4964699"/>
              <a:gd name="connsiteY10" fmla="*/ 6965950 h 6972300"/>
              <a:gd name="connsiteX11" fmla="*/ 346555 w 4964699"/>
              <a:gd name="connsiteY11" fmla="*/ 6972300 h 6972300"/>
              <a:gd name="connsiteX12" fmla="*/ 332375 w 4964699"/>
              <a:gd name="connsiteY12" fmla="*/ 1841500 h 6972300"/>
              <a:gd name="connsiteX13" fmla="*/ 338724 w 4964699"/>
              <a:gd name="connsiteY13" fmla="*/ 1625600 h 6972300"/>
              <a:gd name="connsiteX14" fmla="*/ 346555 w 4964699"/>
              <a:gd name="connsiteY14" fmla="*/ 6350 h 6972300"/>
              <a:gd name="connsiteX0" fmla="*/ 346555 w 4964699"/>
              <a:gd name="connsiteY0" fmla="*/ 6350 h 6972300"/>
              <a:gd name="connsiteX1" fmla="*/ 967374 w 4964699"/>
              <a:gd name="connsiteY1" fmla="*/ 0 h 6972300"/>
              <a:gd name="connsiteX2" fmla="*/ 3699780 w 4964699"/>
              <a:gd name="connsiteY2" fmla="*/ 6967537 h 6972300"/>
              <a:gd name="connsiteX3" fmla="*/ 1062624 w 4964699"/>
              <a:gd name="connsiteY3" fmla="*/ 0 h 6972300"/>
              <a:gd name="connsiteX4" fmla="*/ 2300874 w 4964699"/>
              <a:gd name="connsiteY4" fmla="*/ 0 h 6972300"/>
              <a:gd name="connsiteX5" fmla="*/ 4964699 w 4964699"/>
              <a:gd name="connsiteY5" fmla="*/ 6350 h 6972300"/>
              <a:gd name="connsiteX6" fmla="*/ 4964699 w 4964699"/>
              <a:gd name="connsiteY6" fmla="*/ 6972300 h 6972300"/>
              <a:gd name="connsiteX7" fmla="*/ 3704225 w 4964699"/>
              <a:gd name="connsiteY7" fmla="*/ 6959600 h 6972300"/>
              <a:gd name="connsiteX8" fmla="*/ 3615325 w 4964699"/>
              <a:gd name="connsiteY8" fmla="*/ 6959600 h 6972300"/>
              <a:gd name="connsiteX9" fmla="*/ 2389775 w 4964699"/>
              <a:gd name="connsiteY9" fmla="*/ 6959600 h 6972300"/>
              <a:gd name="connsiteX10" fmla="*/ 2288175 w 4964699"/>
              <a:gd name="connsiteY10" fmla="*/ 6965950 h 6972300"/>
              <a:gd name="connsiteX11" fmla="*/ 346555 w 4964699"/>
              <a:gd name="connsiteY11" fmla="*/ 6972300 h 6972300"/>
              <a:gd name="connsiteX12" fmla="*/ 332375 w 4964699"/>
              <a:gd name="connsiteY12" fmla="*/ 1841500 h 6972300"/>
              <a:gd name="connsiteX13" fmla="*/ 338724 w 4964699"/>
              <a:gd name="connsiteY13" fmla="*/ 1625600 h 6972300"/>
              <a:gd name="connsiteX14" fmla="*/ 346555 w 4964699"/>
              <a:gd name="connsiteY14" fmla="*/ 6350 h 6972300"/>
              <a:gd name="connsiteX0" fmla="*/ 346555 w 4964699"/>
              <a:gd name="connsiteY0" fmla="*/ 6350 h 6972300"/>
              <a:gd name="connsiteX1" fmla="*/ 967374 w 4964699"/>
              <a:gd name="connsiteY1" fmla="*/ 0 h 6972300"/>
              <a:gd name="connsiteX2" fmla="*/ 2684415 w 4964699"/>
              <a:gd name="connsiteY2" fmla="*/ 438150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615325 w 4964699"/>
              <a:gd name="connsiteY9" fmla="*/ 695960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346555 w 4964699"/>
              <a:gd name="connsiteY0" fmla="*/ 6350 h 6972300"/>
              <a:gd name="connsiteX1" fmla="*/ 967374 w 4964699"/>
              <a:gd name="connsiteY1" fmla="*/ 0 h 6972300"/>
              <a:gd name="connsiteX2" fmla="*/ 3621675 w 4964699"/>
              <a:gd name="connsiteY2" fmla="*/ 695706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615325 w 4964699"/>
              <a:gd name="connsiteY9" fmla="*/ 695960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346555 w 4964699"/>
              <a:gd name="connsiteY0" fmla="*/ 6350 h 6972300"/>
              <a:gd name="connsiteX1" fmla="*/ 967374 w 4964699"/>
              <a:gd name="connsiteY1" fmla="*/ 0 h 6972300"/>
              <a:gd name="connsiteX2" fmla="*/ 3621675 w 4964699"/>
              <a:gd name="connsiteY2" fmla="*/ 6957060 h 6972300"/>
              <a:gd name="connsiteX3" fmla="*/ 3699780 w 4964699"/>
              <a:gd name="connsiteY3" fmla="*/ 6967537 h 6972300"/>
              <a:gd name="connsiteX4" fmla="*/ 1062624 w 4964699"/>
              <a:gd name="connsiteY4" fmla="*/ 0 h 6972300"/>
              <a:gd name="connsiteX5" fmla="*/ 2300874 w 4964699"/>
              <a:gd name="connsiteY5" fmla="*/ 0 h 6972300"/>
              <a:gd name="connsiteX6" fmla="*/ 4964699 w 4964699"/>
              <a:gd name="connsiteY6" fmla="*/ 6350 h 6972300"/>
              <a:gd name="connsiteX7" fmla="*/ 4964699 w 4964699"/>
              <a:gd name="connsiteY7" fmla="*/ 6972300 h 6972300"/>
              <a:gd name="connsiteX8" fmla="*/ 3704225 w 4964699"/>
              <a:gd name="connsiteY8" fmla="*/ 6959600 h 6972300"/>
              <a:gd name="connsiteX9" fmla="*/ 3592465 w 4964699"/>
              <a:gd name="connsiteY9" fmla="*/ 6951980 h 6972300"/>
              <a:gd name="connsiteX10" fmla="*/ 2389775 w 4964699"/>
              <a:gd name="connsiteY10" fmla="*/ 6959600 h 6972300"/>
              <a:gd name="connsiteX11" fmla="*/ 2288175 w 4964699"/>
              <a:gd name="connsiteY11" fmla="*/ 6965950 h 6972300"/>
              <a:gd name="connsiteX12" fmla="*/ 346555 w 4964699"/>
              <a:gd name="connsiteY12" fmla="*/ 6972300 h 6972300"/>
              <a:gd name="connsiteX13" fmla="*/ 332375 w 4964699"/>
              <a:gd name="connsiteY13" fmla="*/ 1841500 h 6972300"/>
              <a:gd name="connsiteX14" fmla="*/ 338724 w 4964699"/>
              <a:gd name="connsiteY14" fmla="*/ 1625600 h 6972300"/>
              <a:gd name="connsiteX15" fmla="*/ 346555 w 4964699"/>
              <a:gd name="connsiteY15" fmla="*/ 6350 h 6972300"/>
              <a:gd name="connsiteX0" fmla="*/ 154847 w 4772991"/>
              <a:gd name="connsiteY0" fmla="*/ 6350 h 6972300"/>
              <a:gd name="connsiteX1" fmla="*/ 775666 w 4772991"/>
              <a:gd name="connsiteY1" fmla="*/ 0 h 6972300"/>
              <a:gd name="connsiteX2" fmla="*/ 3429967 w 4772991"/>
              <a:gd name="connsiteY2" fmla="*/ 6957060 h 6972300"/>
              <a:gd name="connsiteX3" fmla="*/ 3508072 w 4772991"/>
              <a:gd name="connsiteY3" fmla="*/ 6967537 h 6972300"/>
              <a:gd name="connsiteX4" fmla="*/ 870916 w 4772991"/>
              <a:gd name="connsiteY4" fmla="*/ 0 h 6972300"/>
              <a:gd name="connsiteX5" fmla="*/ 2109166 w 4772991"/>
              <a:gd name="connsiteY5" fmla="*/ 0 h 6972300"/>
              <a:gd name="connsiteX6" fmla="*/ 4772991 w 4772991"/>
              <a:gd name="connsiteY6" fmla="*/ 6350 h 6972300"/>
              <a:gd name="connsiteX7" fmla="*/ 4772991 w 4772991"/>
              <a:gd name="connsiteY7" fmla="*/ 6972300 h 6972300"/>
              <a:gd name="connsiteX8" fmla="*/ 3512517 w 4772991"/>
              <a:gd name="connsiteY8" fmla="*/ 6959600 h 6972300"/>
              <a:gd name="connsiteX9" fmla="*/ 3400757 w 4772991"/>
              <a:gd name="connsiteY9" fmla="*/ 6951980 h 6972300"/>
              <a:gd name="connsiteX10" fmla="*/ 2198067 w 4772991"/>
              <a:gd name="connsiteY10" fmla="*/ 6959600 h 6972300"/>
              <a:gd name="connsiteX11" fmla="*/ 2096467 w 4772991"/>
              <a:gd name="connsiteY11" fmla="*/ 6965950 h 6972300"/>
              <a:gd name="connsiteX12" fmla="*/ 154847 w 4772991"/>
              <a:gd name="connsiteY12" fmla="*/ 6972300 h 6972300"/>
              <a:gd name="connsiteX13" fmla="*/ 121617 w 4772991"/>
              <a:gd name="connsiteY13" fmla="*/ 1974850 h 6972300"/>
              <a:gd name="connsiteX14" fmla="*/ 140667 w 4772991"/>
              <a:gd name="connsiteY14" fmla="*/ 1841500 h 6972300"/>
              <a:gd name="connsiteX15" fmla="*/ 147016 w 4772991"/>
              <a:gd name="connsiteY15" fmla="*/ 1625600 h 6972300"/>
              <a:gd name="connsiteX16" fmla="*/ 154847 w 4772991"/>
              <a:gd name="connsiteY16"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123157 w 4774531"/>
              <a:gd name="connsiteY14" fmla="*/ 1974850 h 6972300"/>
              <a:gd name="connsiteX15" fmla="*/ 142207 w 4774531"/>
              <a:gd name="connsiteY15" fmla="*/ 1841500 h 6972300"/>
              <a:gd name="connsiteX16" fmla="*/ 148556 w 4774531"/>
              <a:gd name="connsiteY16" fmla="*/ 1625600 h 6972300"/>
              <a:gd name="connsiteX17" fmla="*/ 156387 w 4774531"/>
              <a:gd name="connsiteY17"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123157 w 4774531"/>
              <a:gd name="connsiteY14" fmla="*/ 1974850 h 6972300"/>
              <a:gd name="connsiteX15" fmla="*/ 525589 w 4774531"/>
              <a:gd name="connsiteY15" fmla="*/ 1889125 h 6972300"/>
              <a:gd name="connsiteX16" fmla="*/ 148556 w 4774531"/>
              <a:gd name="connsiteY16" fmla="*/ 1625600 h 6972300"/>
              <a:gd name="connsiteX17" fmla="*/ 156387 w 4774531"/>
              <a:gd name="connsiteY17" fmla="*/ 6350 h 6972300"/>
              <a:gd name="connsiteX0" fmla="*/ 156387 w 4774531"/>
              <a:gd name="connsiteY0" fmla="*/ 6350 h 6972300"/>
              <a:gd name="connsiteX1" fmla="*/ 777206 w 4774531"/>
              <a:gd name="connsiteY1" fmla="*/ 0 h 6972300"/>
              <a:gd name="connsiteX2" fmla="*/ 3431507 w 4774531"/>
              <a:gd name="connsiteY2" fmla="*/ 6957060 h 6972300"/>
              <a:gd name="connsiteX3" fmla="*/ 3509612 w 4774531"/>
              <a:gd name="connsiteY3" fmla="*/ 6967537 h 6972300"/>
              <a:gd name="connsiteX4" fmla="*/ 872456 w 4774531"/>
              <a:gd name="connsiteY4" fmla="*/ 0 h 6972300"/>
              <a:gd name="connsiteX5" fmla="*/ 2110706 w 4774531"/>
              <a:gd name="connsiteY5" fmla="*/ 0 h 6972300"/>
              <a:gd name="connsiteX6" fmla="*/ 4774531 w 4774531"/>
              <a:gd name="connsiteY6" fmla="*/ 6350 h 6972300"/>
              <a:gd name="connsiteX7" fmla="*/ 4774531 w 4774531"/>
              <a:gd name="connsiteY7" fmla="*/ 6972300 h 6972300"/>
              <a:gd name="connsiteX8" fmla="*/ 3514057 w 4774531"/>
              <a:gd name="connsiteY8" fmla="*/ 6959600 h 6972300"/>
              <a:gd name="connsiteX9" fmla="*/ 3402297 w 4774531"/>
              <a:gd name="connsiteY9" fmla="*/ 6951980 h 6972300"/>
              <a:gd name="connsiteX10" fmla="*/ 2199607 w 4774531"/>
              <a:gd name="connsiteY10" fmla="*/ 6959600 h 6972300"/>
              <a:gd name="connsiteX11" fmla="*/ 2098007 w 4774531"/>
              <a:gd name="connsiteY11" fmla="*/ 6965950 h 6972300"/>
              <a:gd name="connsiteX12" fmla="*/ 156387 w 4774531"/>
              <a:gd name="connsiteY12" fmla="*/ 6972300 h 6972300"/>
              <a:gd name="connsiteX13" fmla="*/ 116807 w 4774531"/>
              <a:gd name="connsiteY13" fmla="*/ 2076450 h 6972300"/>
              <a:gd name="connsiteX14" fmla="*/ 430338 w 4774531"/>
              <a:gd name="connsiteY14" fmla="*/ 2432050 h 6972300"/>
              <a:gd name="connsiteX15" fmla="*/ 525589 w 4774531"/>
              <a:gd name="connsiteY15" fmla="*/ 1889125 h 6972300"/>
              <a:gd name="connsiteX16" fmla="*/ 148556 w 4774531"/>
              <a:gd name="connsiteY16" fmla="*/ 1625600 h 6972300"/>
              <a:gd name="connsiteX17" fmla="*/ 156387 w 4774531"/>
              <a:gd name="connsiteY17" fmla="*/ 6350 h 6972300"/>
              <a:gd name="connsiteX0" fmla="*/ 146526 w 4764670"/>
              <a:gd name="connsiteY0" fmla="*/ 6350 h 6972300"/>
              <a:gd name="connsiteX1" fmla="*/ 767345 w 4764670"/>
              <a:gd name="connsiteY1" fmla="*/ 0 h 6972300"/>
              <a:gd name="connsiteX2" fmla="*/ 3421646 w 4764670"/>
              <a:gd name="connsiteY2" fmla="*/ 6957060 h 6972300"/>
              <a:gd name="connsiteX3" fmla="*/ 3499751 w 4764670"/>
              <a:gd name="connsiteY3" fmla="*/ 6967537 h 6972300"/>
              <a:gd name="connsiteX4" fmla="*/ 862595 w 4764670"/>
              <a:gd name="connsiteY4" fmla="*/ 0 h 6972300"/>
              <a:gd name="connsiteX5" fmla="*/ 2100845 w 4764670"/>
              <a:gd name="connsiteY5" fmla="*/ 0 h 6972300"/>
              <a:gd name="connsiteX6" fmla="*/ 4764670 w 4764670"/>
              <a:gd name="connsiteY6" fmla="*/ 6350 h 6972300"/>
              <a:gd name="connsiteX7" fmla="*/ 4764670 w 4764670"/>
              <a:gd name="connsiteY7" fmla="*/ 6972300 h 6972300"/>
              <a:gd name="connsiteX8" fmla="*/ 3504196 w 4764670"/>
              <a:gd name="connsiteY8" fmla="*/ 6959600 h 6972300"/>
              <a:gd name="connsiteX9" fmla="*/ 3392436 w 4764670"/>
              <a:gd name="connsiteY9" fmla="*/ 6951980 h 6972300"/>
              <a:gd name="connsiteX10" fmla="*/ 2189746 w 4764670"/>
              <a:gd name="connsiteY10" fmla="*/ 6959600 h 6972300"/>
              <a:gd name="connsiteX11" fmla="*/ 2088146 w 4764670"/>
              <a:gd name="connsiteY11" fmla="*/ 6965950 h 6972300"/>
              <a:gd name="connsiteX12" fmla="*/ 146526 w 4764670"/>
              <a:gd name="connsiteY12" fmla="*/ 6972300 h 6972300"/>
              <a:gd name="connsiteX13" fmla="*/ 142665 w 4764670"/>
              <a:gd name="connsiteY13" fmla="*/ 2000250 h 6972300"/>
              <a:gd name="connsiteX14" fmla="*/ 420477 w 4764670"/>
              <a:gd name="connsiteY14" fmla="*/ 2432050 h 6972300"/>
              <a:gd name="connsiteX15" fmla="*/ 515728 w 4764670"/>
              <a:gd name="connsiteY15" fmla="*/ 1889125 h 6972300"/>
              <a:gd name="connsiteX16" fmla="*/ 138695 w 4764670"/>
              <a:gd name="connsiteY16" fmla="*/ 1625600 h 6972300"/>
              <a:gd name="connsiteX17" fmla="*/ 146526 w 4764670"/>
              <a:gd name="connsiteY17" fmla="*/ 6350 h 6972300"/>
              <a:gd name="connsiteX0" fmla="*/ 146526 w 4764670"/>
              <a:gd name="connsiteY0" fmla="*/ 6350 h 6972300"/>
              <a:gd name="connsiteX1" fmla="*/ 767345 w 4764670"/>
              <a:gd name="connsiteY1" fmla="*/ 0 h 6972300"/>
              <a:gd name="connsiteX2" fmla="*/ 3421646 w 4764670"/>
              <a:gd name="connsiteY2" fmla="*/ 6957060 h 6972300"/>
              <a:gd name="connsiteX3" fmla="*/ 3499751 w 4764670"/>
              <a:gd name="connsiteY3" fmla="*/ 6967537 h 6972300"/>
              <a:gd name="connsiteX4" fmla="*/ 862595 w 4764670"/>
              <a:gd name="connsiteY4" fmla="*/ 0 h 6972300"/>
              <a:gd name="connsiteX5" fmla="*/ 2100845 w 4764670"/>
              <a:gd name="connsiteY5" fmla="*/ 0 h 6972300"/>
              <a:gd name="connsiteX6" fmla="*/ 4764670 w 4764670"/>
              <a:gd name="connsiteY6" fmla="*/ 6350 h 6972300"/>
              <a:gd name="connsiteX7" fmla="*/ 4764670 w 4764670"/>
              <a:gd name="connsiteY7" fmla="*/ 6972300 h 6972300"/>
              <a:gd name="connsiteX8" fmla="*/ 3504196 w 4764670"/>
              <a:gd name="connsiteY8" fmla="*/ 6959600 h 6972300"/>
              <a:gd name="connsiteX9" fmla="*/ 3392436 w 4764670"/>
              <a:gd name="connsiteY9" fmla="*/ 6951980 h 6972300"/>
              <a:gd name="connsiteX10" fmla="*/ 2189746 w 4764670"/>
              <a:gd name="connsiteY10" fmla="*/ 6959600 h 6972300"/>
              <a:gd name="connsiteX11" fmla="*/ 2088146 w 4764670"/>
              <a:gd name="connsiteY11" fmla="*/ 6965950 h 6972300"/>
              <a:gd name="connsiteX12" fmla="*/ 146526 w 4764670"/>
              <a:gd name="connsiteY12" fmla="*/ 6972300 h 6972300"/>
              <a:gd name="connsiteX13" fmla="*/ 142665 w 4764670"/>
              <a:gd name="connsiteY13" fmla="*/ 2000250 h 6972300"/>
              <a:gd name="connsiteX14" fmla="*/ 420477 w 4764670"/>
              <a:gd name="connsiteY14" fmla="*/ 2432050 h 6972300"/>
              <a:gd name="connsiteX15" fmla="*/ 515728 w 4764670"/>
              <a:gd name="connsiteY15" fmla="*/ 1889125 h 6972300"/>
              <a:gd name="connsiteX16" fmla="*/ 138695 w 4764670"/>
              <a:gd name="connsiteY16" fmla="*/ 1625600 h 6972300"/>
              <a:gd name="connsiteX17" fmla="*/ 146526 w 476467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411767 w 4755960"/>
              <a:gd name="connsiteY14" fmla="*/ 2432050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1545242 w 4755960"/>
              <a:gd name="connsiteY14" fmla="*/ 5541962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2300"/>
              <a:gd name="connsiteX1" fmla="*/ 758635 w 4755960"/>
              <a:gd name="connsiteY1" fmla="*/ 0 h 6972300"/>
              <a:gd name="connsiteX2" fmla="*/ 3412936 w 4755960"/>
              <a:gd name="connsiteY2" fmla="*/ 6957060 h 6972300"/>
              <a:gd name="connsiteX3" fmla="*/ 3491041 w 4755960"/>
              <a:gd name="connsiteY3" fmla="*/ 6967537 h 6972300"/>
              <a:gd name="connsiteX4" fmla="*/ 853885 w 4755960"/>
              <a:gd name="connsiteY4" fmla="*/ 0 h 6972300"/>
              <a:gd name="connsiteX5" fmla="*/ 2092135 w 4755960"/>
              <a:gd name="connsiteY5" fmla="*/ 0 h 6972300"/>
              <a:gd name="connsiteX6" fmla="*/ 4755960 w 4755960"/>
              <a:gd name="connsiteY6" fmla="*/ 6350 h 6972300"/>
              <a:gd name="connsiteX7" fmla="*/ 4755960 w 4755960"/>
              <a:gd name="connsiteY7" fmla="*/ 6972300 h 6972300"/>
              <a:gd name="connsiteX8" fmla="*/ 3495486 w 4755960"/>
              <a:gd name="connsiteY8" fmla="*/ 6959600 h 6972300"/>
              <a:gd name="connsiteX9" fmla="*/ 3383726 w 4755960"/>
              <a:gd name="connsiteY9" fmla="*/ 6951980 h 6972300"/>
              <a:gd name="connsiteX10" fmla="*/ 2181036 w 4755960"/>
              <a:gd name="connsiteY10" fmla="*/ 6959600 h 6972300"/>
              <a:gd name="connsiteX11" fmla="*/ 2079436 w 4755960"/>
              <a:gd name="connsiteY11" fmla="*/ 6965950 h 6972300"/>
              <a:gd name="connsiteX12" fmla="*/ 137816 w 4755960"/>
              <a:gd name="connsiteY12" fmla="*/ 6972300 h 6972300"/>
              <a:gd name="connsiteX13" fmla="*/ 169674 w 4755960"/>
              <a:gd name="connsiteY13" fmla="*/ 1926431 h 6972300"/>
              <a:gd name="connsiteX14" fmla="*/ 2078642 w 4755960"/>
              <a:gd name="connsiteY14" fmla="*/ 6970712 h 6972300"/>
              <a:gd name="connsiteX15" fmla="*/ 507018 w 4755960"/>
              <a:gd name="connsiteY15" fmla="*/ 1889125 h 6972300"/>
              <a:gd name="connsiteX16" fmla="*/ 129985 w 4755960"/>
              <a:gd name="connsiteY16" fmla="*/ 1625600 h 6972300"/>
              <a:gd name="connsiteX17" fmla="*/ 137816 w 4755960"/>
              <a:gd name="connsiteY17" fmla="*/ 6350 h 6972300"/>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29985 w 4755960"/>
              <a:gd name="connsiteY16" fmla="*/ 1625600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82372 w 4755960"/>
              <a:gd name="connsiteY16" fmla="*/ 1620838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44272 w 4755960"/>
              <a:gd name="connsiteY16" fmla="*/ 1616076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44272 w 4755960"/>
              <a:gd name="connsiteY16" fmla="*/ 1616076 h 6977874"/>
              <a:gd name="connsiteX17" fmla="*/ 137816 w 4755960"/>
              <a:gd name="connsiteY17" fmla="*/ 6350 h 6977874"/>
              <a:gd name="connsiteX0" fmla="*/ 137816 w 4755960"/>
              <a:gd name="connsiteY0" fmla="*/ 6350 h 6977874"/>
              <a:gd name="connsiteX1" fmla="*/ 758635 w 4755960"/>
              <a:gd name="connsiteY1" fmla="*/ 0 h 6977874"/>
              <a:gd name="connsiteX2" fmla="*/ 3412936 w 4755960"/>
              <a:gd name="connsiteY2" fmla="*/ 6957060 h 6977874"/>
              <a:gd name="connsiteX3" fmla="*/ 3491041 w 4755960"/>
              <a:gd name="connsiteY3" fmla="*/ 6967537 h 6977874"/>
              <a:gd name="connsiteX4" fmla="*/ 853885 w 4755960"/>
              <a:gd name="connsiteY4" fmla="*/ 0 h 6977874"/>
              <a:gd name="connsiteX5" fmla="*/ 2092135 w 4755960"/>
              <a:gd name="connsiteY5" fmla="*/ 0 h 6977874"/>
              <a:gd name="connsiteX6" fmla="*/ 4755960 w 4755960"/>
              <a:gd name="connsiteY6" fmla="*/ 6350 h 6977874"/>
              <a:gd name="connsiteX7" fmla="*/ 4755960 w 4755960"/>
              <a:gd name="connsiteY7" fmla="*/ 6972300 h 6977874"/>
              <a:gd name="connsiteX8" fmla="*/ 3495486 w 4755960"/>
              <a:gd name="connsiteY8" fmla="*/ 6959600 h 6977874"/>
              <a:gd name="connsiteX9" fmla="*/ 3383726 w 4755960"/>
              <a:gd name="connsiteY9" fmla="*/ 6951980 h 6977874"/>
              <a:gd name="connsiteX10" fmla="*/ 2181036 w 4755960"/>
              <a:gd name="connsiteY10" fmla="*/ 6959600 h 6977874"/>
              <a:gd name="connsiteX11" fmla="*/ 2079436 w 4755960"/>
              <a:gd name="connsiteY11" fmla="*/ 6965950 h 6977874"/>
              <a:gd name="connsiteX12" fmla="*/ 137816 w 4755960"/>
              <a:gd name="connsiteY12" fmla="*/ 6972300 h 6977874"/>
              <a:gd name="connsiteX13" fmla="*/ 169674 w 4755960"/>
              <a:gd name="connsiteY13" fmla="*/ 1926431 h 6977874"/>
              <a:gd name="connsiteX14" fmla="*/ 2078642 w 4755960"/>
              <a:gd name="connsiteY14" fmla="*/ 6970712 h 6977874"/>
              <a:gd name="connsiteX15" fmla="*/ 2178656 w 4755960"/>
              <a:gd name="connsiteY15" fmla="*/ 6956425 h 6977874"/>
              <a:gd name="connsiteX16" fmla="*/ 129985 w 4755960"/>
              <a:gd name="connsiteY16" fmla="*/ 1630363 h 6977874"/>
              <a:gd name="connsiteX17" fmla="*/ 137816 w 4755960"/>
              <a:gd name="connsiteY17" fmla="*/ 6350 h 6977874"/>
              <a:gd name="connsiteX0" fmla="*/ 142330 w 4760474"/>
              <a:gd name="connsiteY0" fmla="*/ 6350 h 6977874"/>
              <a:gd name="connsiteX1" fmla="*/ 763149 w 4760474"/>
              <a:gd name="connsiteY1" fmla="*/ 0 h 6977874"/>
              <a:gd name="connsiteX2" fmla="*/ 3417450 w 4760474"/>
              <a:gd name="connsiteY2" fmla="*/ 6957060 h 6977874"/>
              <a:gd name="connsiteX3" fmla="*/ 3495555 w 4760474"/>
              <a:gd name="connsiteY3" fmla="*/ 6967537 h 6977874"/>
              <a:gd name="connsiteX4" fmla="*/ 858399 w 4760474"/>
              <a:gd name="connsiteY4" fmla="*/ 0 h 6977874"/>
              <a:gd name="connsiteX5" fmla="*/ 2096649 w 4760474"/>
              <a:gd name="connsiteY5" fmla="*/ 0 h 6977874"/>
              <a:gd name="connsiteX6" fmla="*/ 4760474 w 4760474"/>
              <a:gd name="connsiteY6" fmla="*/ 6350 h 6977874"/>
              <a:gd name="connsiteX7" fmla="*/ 4760474 w 4760474"/>
              <a:gd name="connsiteY7" fmla="*/ 6972300 h 6977874"/>
              <a:gd name="connsiteX8" fmla="*/ 3500000 w 4760474"/>
              <a:gd name="connsiteY8" fmla="*/ 6959600 h 6977874"/>
              <a:gd name="connsiteX9" fmla="*/ 3388240 w 4760474"/>
              <a:gd name="connsiteY9" fmla="*/ 6951980 h 6977874"/>
              <a:gd name="connsiteX10" fmla="*/ 2185550 w 4760474"/>
              <a:gd name="connsiteY10" fmla="*/ 6959600 h 6977874"/>
              <a:gd name="connsiteX11" fmla="*/ 2083950 w 4760474"/>
              <a:gd name="connsiteY11" fmla="*/ 6965950 h 6977874"/>
              <a:gd name="connsiteX12" fmla="*/ 142330 w 4760474"/>
              <a:gd name="connsiteY12" fmla="*/ 6972300 h 6977874"/>
              <a:gd name="connsiteX13" fmla="*/ 155138 w 4760474"/>
              <a:gd name="connsiteY13" fmla="*/ 1883569 h 6977874"/>
              <a:gd name="connsiteX14" fmla="*/ 2083156 w 4760474"/>
              <a:gd name="connsiteY14" fmla="*/ 6970712 h 6977874"/>
              <a:gd name="connsiteX15" fmla="*/ 2183170 w 4760474"/>
              <a:gd name="connsiteY15" fmla="*/ 6956425 h 6977874"/>
              <a:gd name="connsiteX16" fmla="*/ 134499 w 4760474"/>
              <a:gd name="connsiteY16" fmla="*/ 1630363 h 6977874"/>
              <a:gd name="connsiteX17" fmla="*/ 142330 w 4760474"/>
              <a:gd name="connsiteY17" fmla="*/ 6350 h 6977874"/>
              <a:gd name="connsiteX0" fmla="*/ 144363 w 4762507"/>
              <a:gd name="connsiteY0" fmla="*/ 6350 h 6977874"/>
              <a:gd name="connsiteX1" fmla="*/ 765182 w 4762507"/>
              <a:gd name="connsiteY1" fmla="*/ 0 h 6977874"/>
              <a:gd name="connsiteX2" fmla="*/ 3419483 w 4762507"/>
              <a:gd name="connsiteY2" fmla="*/ 6957060 h 6977874"/>
              <a:gd name="connsiteX3" fmla="*/ 3497588 w 4762507"/>
              <a:gd name="connsiteY3" fmla="*/ 6967537 h 6977874"/>
              <a:gd name="connsiteX4" fmla="*/ 860432 w 4762507"/>
              <a:gd name="connsiteY4" fmla="*/ 0 h 6977874"/>
              <a:gd name="connsiteX5" fmla="*/ 2098682 w 4762507"/>
              <a:gd name="connsiteY5" fmla="*/ 0 h 6977874"/>
              <a:gd name="connsiteX6" fmla="*/ 4762507 w 4762507"/>
              <a:gd name="connsiteY6" fmla="*/ 6350 h 6977874"/>
              <a:gd name="connsiteX7" fmla="*/ 4762507 w 4762507"/>
              <a:gd name="connsiteY7" fmla="*/ 6972300 h 6977874"/>
              <a:gd name="connsiteX8" fmla="*/ 3502033 w 4762507"/>
              <a:gd name="connsiteY8" fmla="*/ 6959600 h 6977874"/>
              <a:gd name="connsiteX9" fmla="*/ 3390273 w 4762507"/>
              <a:gd name="connsiteY9" fmla="*/ 6951980 h 6977874"/>
              <a:gd name="connsiteX10" fmla="*/ 2187583 w 4762507"/>
              <a:gd name="connsiteY10" fmla="*/ 6959600 h 6977874"/>
              <a:gd name="connsiteX11" fmla="*/ 2085983 w 4762507"/>
              <a:gd name="connsiteY11" fmla="*/ 6965950 h 6977874"/>
              <a:gd name="connsiteX12" fmla="*/ 144363 w 4762507"/>
              <a:gd name="connsiteY12" fmla="*/ 6972300 h 6977874"/>
              <a:gd name="connsiteX13" fmla="*/ 157171 w 4762507"/>
              <a:gd name="connsiteY13" fmla="*/ 1883569 h 6977874"/>
              <a:gd name="connsiteX14" fmla="*/ 2085189 w 4762507"/>
              <a:gd name="connsiteY14" fmla="*/ 6970712 h 6977874"/>
              <a:gd name="connsiteX15" fmla="*/ 2185203 w 4762507"/>
              <a:gd name="connsiteY15" fmla="*/ 6956425 h 6977874"/>
              <a:gd name="connsiteX16" fmla="*/ 136532 w 4762507"/>
              <a:gd name="connsiteY16" fmla="*/ 1630363 h 6977874"/>
              <a:gd name="connsiteX17" fmla="*/ 144363 w 4762507"/>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8220 w 4626364"/>
              <a:gd name="connsiteY12" fmla="*/ 6972300 h 6977874"/>
              <a:gd name="connsiteX13" fmla="*/ 21028 w 4626364"/>
              <a:gd name="connsiteY13" fmla="*/ 188356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46320 w 4626364"/>
              <a:gd name="connsiteY12" fmla="*/ 6965950 h 6977874"/>
              <a:gd name="connsiteX13" fmla="*/ 21028 w 4626364"/>
              <a:gd name="connsiteY13" fmla="*/ 188356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8220 w 4626364"/>
              <a:gd name="connsiteY0" fmla="*/ 6350 h 6977874"/>
              <a:gd name="connsiteX1" fmla="*/ 629039 w 4626364"/>
              <a:gd name="connsiteY1" fmla="*/ 0 h 6977874"/>
              <a:gd name="connsiteX2" fmla="*/ 3283340 w 4626364"/>
              <a:gd name="connsiteY2" fmla="*/ 6957060 h 6977874"/>
              <a:gd name="connsiteX3" fmla="*/ 3361445 w 4626364"/>
              <a:gd name="connsiteY3" fmla="*/ 6967537 h 6977874"/>
              <a:gd name="connsiteX4" fmla="*/ 724289 w 4626364"/>
              <a:gd name="connsiteY4" fmla="*/ 0 h 6977874"/>
              <a:gd name="connsiteX5" fmla="*/ 1962539 w 4626364"/>
              <a:gd name="connsiteY5" fmla="*/ 0 h 6977874"/>
              <a:gd name="connsiteX6" fmla="*/ 4626364 w 4626364"/>
              <a:gd name="connsiteY6" fmla="*/ 6350 h 6977874"/>
              <a:gd name="connsiteX7" fmla="*/ 4626364 w 4626364"/>
              <a:gd name="connsiteY7" fmla="*/ 6972300 h 6977874"/>
              <a:gd name="connsiteX8" fmla="*/ 3365890 w 4626364"/>
              <a:gd name="connsiteY8" fmla="*/ 6959600 h 6977874"/>
              <a:gd name="connsiteX9" fmla="*/ 3254130 w 4626364"/>
              <a:gd name="connsiteY9" fmla="*/ 6951980 h 6977874"/>
              <a:gd name="connsiteX10" fmla="*/ 2051440 w 4626364"/>
              <a:gd name="connsiteY10" fmla="*/ 6959600 h 6977874"/>
              <a:gd name="connsiteX11" fmla="*/ 1949840 w 4626364"/>
              <a:gd name="connsiteY11" fmla="*/ 6965950 h 6977874"/>
              <a:gd name="connsiteX12" fmla="*/ 46320 w 4626364"/>
              <a:gd name="connsiteY12" fmla="*/ 6965950 h 6977874"/>
              <a:gd name="connsiteX13" fmla="*/ 40078 w 4626364"/>
              <a:gd name="connsiteY13" fmla="*/ 1940719 h 6977874"/>
              <a:gd name="connsiteX14" fmla="*/ 1949046 w 4626364"/>
              <a:gd name="connsiteY14" fmla="*/ 6970712 h 6977874"/>
              <a:gd name="connsiteX15" fmla="*/ 2049060 w 4626364"/>
              <a:gd name="connsiteY15" fmla="*/ 6956425 h 6977874"/>
              <a:gd name="connsiteX16" fmla="*/ 389 w 4626364"/>
              <a:gd name="connsiteY16" fmla="*/ 1630363 h 6977874"/>
              <a:gd name="connsiteX17" fmla="*/ 8220 w 4626364"/>
              <a:gd name="connsiteY17"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350 h 6977874"/>
              <a:gd name="connsiteX7" fmla="*/ 4618340 w 4618340"/>
              <a:gd name="connsiteY7" fmla="*/ 6972300 h 6977874"/>
              <a:gd name="connsiteX8" fmla="*/ 3357866 w 4618340"/>
              <a:gd name="connsiteY8" fmla="*/ 6959600 h 6977874"/>
              <a:gd name="connsiteX9" fmla="*/ 3246106 w 4618340"/>
              <a:gd name="connsiteY9" fmla="*/ 6951980 h 6977874"/>
              <a:gd name="connsiteX10" fmla="*/ 2043416 w 4618340"/>
              <a:gd name="connsiteY10" fmla="*/ 6959600 h 6977874"/>
              <a:gd name="connsiteX11" fmla="*/ 1941816 w 4618340"/>
              <a:gd name="connsiteY11" fmla="*/ 6965950 h 6977874"/>
              <a:gd name="connsiteX12" fmla="*/ 38296 w 4618340"/>
              <a:gd name="connsiteY12" fmla="*/ 6965950 h 6977874"/>
              <a:gd name="connsiteX13" fmla="*/ 32054 w 4618340"/>
              <a:gd name="connsiteY13" fmla="*/ 1940719 h 6977874"/>
              <a:gd name="connsiteX14" fmla="*/ 1941022 w 4618340"/>
              <a:gd name="connsiteY14" fmla="*/ 6970712 h 6977874"/>
              <a:gd name="connsiteX15" fmla="*/ 2041036 w 4618340"/>
              <a:gd name="connsiteY15" fmla="*/ 6956425 h 6977874"/>
              <a:gd name="connsiteX16" fmla="*/ 24115 w 4618340"/>
              <a:gd name="connsiteY16" fmla="*/ 1712913 h 6977874"/>
              <a:gd name="connsiteX17" fmla="*/ 196 w 4618340"/>
              <a:gd name="connsiteY17"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4102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6007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 name="connsiteX0" fmla="*/ 196 w 4618340"/>
              <a:gd name="connsiteY0" fmla="*/ 6350 h 6977874"/>
              <a:gd name="connsiteX1" fmla="*/ 621015 w 4618340"/>
              <a:gd name="connsiteY1" fmla="*/ 0 h 6977874"/>
              <a:gd name="connsiteX2" fmla="*/ 3275316 w 4618340"/>
              <a:gd name="connsiteY2" fmla="*/ 6957060 h 6977874"/>
              <a:gd name="connsiteX3" fmla="*/ 3353421 w 4618340"/>
              <a:gd name="connsiteY3" fmla="*/ 6967537 h 6977874"/>
              <a:gd name="connsiteX4" fmla="*/ 716265 w 4618340"/>
              <a:gd name="connsiteY4" fmla="*/ 0 h 6977874"/>
              <a:gd name="connsiteX5" fmla="*/ 1954515 w 4618340"/>
              <a:gd name="connsiteY5" fmla="*/ 0 h 6977874"/>
              <a:gd name="connsiteX6" fmla="*/ 4618340 w 4618340"/>
              <a:gd name="connsiteY6" fmla="*/ 6972300 h 6977874"/>
              <a:gd name="connsiteX7" fmla="*/ 3357866 w 4618340"/>
              <a:gd name="connsiteY7" fmla="*/ 6959600 h 6977874"/>
              <a:gd name="connsiteX8" fmla="*/ 3246106 w 4618340"/>
              <a:gd name="connsiteY8" fmla="*/ 6951980 h 6977874"/>
              <a:gd name="connsiteX9" fmla="*/ 2043416 w 4618340"/>
              <a:gd name="connsiteY9" fmla="*/ 6959600 h 6977874"/>
              <a:gd name="connsiteX10" fmla="*/ 1941816 w 4618340"/>
              <a:gd name="connsiteY10" fmla="*/ 6965950 h 6977874"/>
              <a:gd name="connsiteX11" fmla="*/ 38296 w 4618340"/>
              <a:gd name="connsiteY11" fmla="*/ 6965950 h 6977874"/>
              <a:gd name="connsiteX12" fmla="*/ 32054 w 4618340"/>
              <a:gd name="connsiteY12" fmla="*/ 1940719 h 6977874"/>
              <a:gd name="connsiteX13" fmla="*/ 1979122 w 4618340"/>
              <a:gd name="connsiteY13" fmla="*/ 6970712 h 6977874"/>
              <a:gd name="connsiteX14" fmla="*/ 2041036 w 4618340"/>
              <a:gd name="connsiteY14" fmla="*/ 6956425 h 6977874"/>
              <a:gd name="connsiteX15" fmla="*/ 24115 w 4618340"/>
              <a:gd name="connsiteY15" fmla="*/ 1712913 h 6977874"/>
              <a:gd name="connsiteX16" fmla="*/ 196 w 4618340"/>
              <a:gd name="connsiteY16" fmla="*/ 6350 h 6977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18340" h="6977874">
                <a:moveTo>
                  <a:pt x="196" y="6350"/>
                </a:moveTo>
                <a:lnTo>
                  <a:pt x="621015" y="0"/>
                </a:lnTo>
                <a:lnTo>
                  <a:pt x="3275316" y="6957060"/>
                </a:lnTo>
                <a:lnTo>
                  <a:pt x="3353421" y="6967537"/>
                </a:lnTo>
                <a:lnTo>
                  <a:pt x="716265" y="0"/>
                </a:lnTo>
                <a:lnTo>
                  <a:pt x="1954515" y="0"/>
                </a:lnTo>
                <a:lnTo>
                  <a:pt x="4618340" y="6972300"/>
                </a:lnTo>
                <a:lnTo>
                  <a:pt x="3357866" y="6959600"/>
                </a:lnTo>
                <a:lnTo>
                  <a:pt x="3246106" y="6951980"/>
                </a:lnTo>
                <a:lnTo>
                  <a:pt x="2043416" y="6959600"/>
                </a:lnTo>
                <a:lnTo>
                  <a:pt x="1941816" y="6965950"/>
                </a:lnTo>
                <a:lnTo>
                  <a:pt x="38296" y="6965950"/>
                </a:lnTo>
                <a:cubicBezTo>
                  <a:pt x="44646" y="6792383"/>
                  <a:pt x="28067" y="1949714"/>
                  <a:pt x="32054" y="1940719"/>
                </a:cubicBezTo>
                <a:cubicBezTo>
                  <a:pt x="36041" y="1946011"/>
                  <a:pt x="1974889" y="7009870"/>
                  <a:pt x="1979122" y="6970712"/>
                </a:cubicBezTo>
                <a:cubicBezTo>
                  <a:pt x="1983355" y="6931554"/>
                  <a:pt x="2036803" y="7014633"/>
                  <a:pt x="2041036" y="6956425"/>
                </a:cubicBezTo>
                <a:cubicBezTo>
                  <a:pt x="2045269" y="6898217"/>
                  <a:pt x="16989" y="1718734"/>
                  <a:pt x="24115" y="1712913"/>
                </a:cubicBezTo>
                <a:cubicBezTo>
                  <a:pt x="21963" y="1716088"/>
                  <a:pt x="-2414" y="546100"/>
                  <a:pt x="196" y="6350"/>
                </a:cubicBezTo>
                <a:close/>
              </a:path>
            </a:pathLst>
          </a:custGeom>
          <a:solidFill>
            <a:schemeClr val="bg1">
              <a:lumMod val="65000"/>
            </a:schemeClr>
          </a:solidFill>
        </p:spPr>
        <p:txBody>
          <a:bodyPr lIns="684000" tIns="3096000"/>
          <a:lstStyle>
            <a:lvl1pPr>
              <a:defRPr sz="1200" b="1">
                <a:solidFill>
                  <a:schemeClr val="bg1"/>
                </a:solidFill>
              </a:defRPr>
            </a:lvl1pPr>
          </a:lstStyle>
          <a:p>
            <a:endParaRPr lang="en-US" dirty="0"/>
          </a:p>
        </p:txBody>
      </p:sp>
    </p:spTree>
    <p:extLst>
      <p:ext uri="{BB962C8B-B14F-4D97-AF65-F5344CB8AC3E}">
        <p14:creationId xmlns:p14="http://schemas.microsoft.com/office/powerpoint/2010/main" val="3000717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PB8 Divider no image">
    <p:bg>
      <p:bgPr>
        <a:solidFill>
          <a:schemeClr val="accent3"/>
        </a:solid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600079" y="2226733"/>
            <a:ext cx="7896221" cy="3005667"/>
          </a:xfrm>
        </p:spPr>
        <p:txBody>
          <a:bodyPr anchor="t">
            <a:noAutofit/>
          </a:bodyPr>
          <a:lstStyle>
            <a:lvl1pPr>
              <a:lnSpc>
                <a:spcPts val="3600"/>
              </a:lnSpc>
              <a:defRPr sz="3600">
                <a:solidFill>
                  <a:schemeClr val="bg1"/>
                </a:solidFill>
              </a:defRPr>
            </a:lvl1pPr>
          </a:lstStyle>
          <a:p>
            <a:r>
              <a:rPr lang="en-US" dirty="0"/>
              <a:t>Click to edit Master title style</a:t>
            </a:r>
          </a:p>
        </p:txBody>
      </p:sp>
      <p:sp>
        <p:nvSpPr>
          <p:cNvPr id="5" name="Parallelogram 4"/>
          <p:cNvSpPr/>
          <p:nvPr userDrawn="1"/>
        </p:nvSpPr>
        <p:spPr>
          <a:xfrm>
            <a:off x="593726"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80041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 with image dark">
    <p:spTree>
      <p:nvGrpSpPr>
        <p:cNvPr id="1" name=""/>
        <p:cNvGrpSpPr/>
        <p:nvPr/>
      </p:nvGrpSpPr>
      <p:grpSpPr>
        <a:xfrm>
          <a:off x="0" y="0"/>
          <a:ext cx="0" cy="0"/>
          <a:chOff x="0" y="0"/>
          <a:chExt cx="0" cy="0"/>
        </a:xfrm>
      </p:grpSpPr>
      <p:pic>
        <p:nvPicPr>
          <p:cNvPr id="21" name="Pictur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5788" y="4802592"/>
            <a:ext cx="1234196" cy="567385"/>
          </a:xfrm>
          <a:prstGeom prst="rect">
            <a:avLst/>
          </a:prstGeom>
        </p:spPr>
      </p:pic>
      <p:sp>
        <p:nvSpPr>
          <p:cNvPr id="22" name="Date Placeholder 3"/>
          <p:cNvSpPr txBox="1">
            <a:spLocks/>
          </p:cNvSpPr>
          <p:nvPr userDrawn="1"/>
        </p:nvSpPr>
        <p:spPr>
          <a:xfrm>
            <a:off x="4395788" y="5878207"/>
            <a:ext cx="1269504" cy="216024"/>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900" dirty="0">
                <a:solidFill>
                  <a:schemeClr val="bg1"/>
                </a:solidFill>
                <a:latin typeface="Segoe UI" panose="020B0502040204020203" pitchFamily="34" charset="0"/>
                <a:ea typeface="Segoe UI" panose="020B0502040204020203" pitchFamily="34" charset="0"/>
                <a:cs typeface="Segoe UI" panose="020B0502040204020203" pitchFamily="34" charset="0"/>
              </a:rPr>
              <a:t>www.</a:t>
            </a:r>
            <a:r>
              <a:rPr lang="en-AU" sz="900" b="1" dirty="0">
                <a:solidFill>
                  <a:schemeClr val="bg1"/>
                </a:solidFill>
                <a:latin typeface="Segoe UI" panose="020B0502040204020203" pitchFamily="34" charset="0"/>
                <a:ea typeface="Segoe UI" panose="020B0502040204020203" pitchFamily="34" charset="0"/>
                <a:cs typeface="Segoe UI" panose="020B0502040204020203" pitchFamily="34" charset="0"/>
              </a:rPr>
              <a:t>advisian</a:t>
            </a:r>
            <a:r>
              <a:rPr lang="en-AU" sz="900" dirty="0">
                <a:solidFill>
                  <a:schemeClr val="bg1"/>
                </a:solidFill>
                <a:latin typeface="Segoe UI" panose="020B0502040204020203" pitchFamily="34" charset="0"/>
                <a:ea typeface="Segoe UI" panose="020B0502040204020203" pitchFamily="34" charset="0"/>
                <a:cs typeface="Segoe UI" panose="020B0502040204020203" pitchFamily="34" charset="0"/>
              </a:rPr>
              <a:t>.com</a:t>
            </a:r>
          </a:p>
        </p:txBody>
      </p:sp>
      <p:sp>
        <p:nvSpPr>
          <p:cNvPr id="28" name="Text Placeholder 26"/>
          <p:cNvSpPr>
            <a:spLocks noGrp="1"/>
          </p:cNvSpPr>
          <p:nvPr>
            <p:ph type="body" sz="quarter" idx="11"/>
          </p:nvPr>
        </p:nvSpPr>
        <p:spPr>
          <a:xfrm>
            <a:off x="4395788" y="3556000"/>
            <a:ext cx="4024312" cy="677333"/>
          </a:xfrm>
          <a:prstGeom prst="rect">
            <a:avLst/>
          </a:prstGeom>
        </p:spPr>
        <p:txBody>
          <a:bodyPr lIns="0" tIns="0" rIns="0" bIns="0">
            <a:noAutofit/>
          </a:bodyPr>
          <a:lstStyle>
            <a:lvl1pPr>
              <a:spcBef>
                <a:spcPts val="0"/>
              </a:spcBef>
              <a:spcAft>
                <a:spcPts val="0"/>
              </a:spcAft>
              <a:defRPr sz="1000">
                <a:solidFill>
                  <a:schemeClr val="bg1"/>
                </a:solidFill>
              </a:defRPr>
            </a:lvl1pPr>
          </a:lstStyle>
          <a:p>
            <a:pPr lvl="0"/>
            <a:r>
              <a:rPr lang="en-US" dirty="0"/>
              <a:t>Click to edit Master text styles</a:t>
            </a:r>
          </a:p>
        </p:txBody>
      </p:sp>
      <p:sp>
        <p:nvSpPr>
          <p:cNvPr id="29" name="Title 28"/>
          <p:cNvSpPr>
            <a:spLocks noGrp="1"/>
          </p:cNvSpPr>
          <p:nvPr>
            <p:ph type="title"/>
          </p:nvPr>
        </p:nvSpPr>
        <p:spPr>
          <a:xfrm>
            <a:off x="4406906" y="644514"/>
            <a:ext cx="3987801" cy="2064823"/>
          </a:xfrm>
        </p:spPr>
        <p:txBody>
          <a:bodyPr>
            <a:normAutofit/>
          </a:bodyPr>
          <a:lstStyle>
            <a:lvl1pPr>
              <a:lnSpc>
                <a:spcPts val="2800"/>
              </a:lnSpc>
              <a:defRPr sz="2800">
                <a:solidFill>
                  <a:schemeClr val="bg1"/>
                </a:solidFill>
              </a:defRPr>
            </a:lvl1pPr>
          </a:lstStyle>
          <a:p>
            <a:r>
              <a:rPr lang="en-US" dirty="0"/>
              <a:t>Click to edit Master title style</a:t>
            </a:r>
          </a:p>
        </p:txBody>
      </p:sp>
      <p:sp>
        <p:nvSpPr>
          <p:cNvPr id="33" name="Text Placeholder 32"/>
          <p:cNvSpPr>
            <a:spLocks noGrp="1"/>
          </p:cNvSpPr>
          <p:nvPr>
            <p:ph type="body" sz="quarter" idx="12"/>
          </p:nvPr>
        </p:nvSpPr>
        <p:spPr>
          <a:xfrm>
            <a:off x="4406900" y="2861736"/>
            <a:ext cx="4006850" cy="601133"/>
          </a:xfrm>
          <a:prstGeom prst="rect">
            <a:avLst/>
          </a:prstGeom>
        </p:spPr>
        <p:txBody>
          <a:bodyPr lIns="0" tIns="0" rIns="0" bIns="0"/>
          <a:lstStyle>
            <a:lvl1pPr>
              <a:defRPr>
                <a:solidFill>
                  <a:schemeClr val="bg1"/>
                </a:solidFill>
              </a:defRPr>
            </a:lvl1pPr>
          </a:lstStyle>
          <a:p>
            <a:pPr lvl="0"/>
            <a:r>
              <a:rPr lang="en-US" dirty="0"/>
              <a:t>Click to edit Master text styles</a:t>
            </a:r>
          </a:p>
        </p:txBody>
      </p:sp>
      <p:sp>
        <p:nvSpPr>
          <p:cNvPr id="7" name="Picture Placeholder 17"/>
          <p:cNvSpPr>
            <a:spLocks noGrp="1"/>
          </p:cNvSpPr>
          <p:nvPr>
            <p:ph type="pic" sz="quarter" idx="14" hasCustomPrompt="1"/>
          </p:nvPr>
        </p:nvSpPr>
        <p:spPr>
          <a:xfrm>
            <a:off x="-38100" y="-46567"/>
            <a:ext cx="9219372" cy="6985003"/>
          </a:xfrm>
          <a:custGeom>
            <a:avLst/>
            <a:gdLst>
              <a:gd name="connsiteX0" fmla="*/ 0 w 9219372"/>
              <a:gd name="connsiteY0" fmla="*/ 5218430 h 5218430"/>
              <a:gd name="connsiteX1" fmla="*/ 0 w 9219372"/>
              <a:gd name="connsiteY1" fmla="*/ 0 h 5218430"/>
              <a:gd name="connsiteX2" fmla="*/ 9219372 w 9219372"/>
              <a:gd name="connsiteY2" fmla="*/ 0 h 5218430"/>
              <a:gd name="connsiteX3" fmla="*/ 9219372 w 9219372"/>
              <a:gd name="connsiteY3" fmla="*/ 5218430 h 5218430"/>
              <a:gd name="connsiteX4" fmla="*/ 0 w 9219372"/>
              <a:gd name="connsiteY4" fmla="*/ 5218430 h 5218430"/>
              <a:gd name="connsiteX0" fmla="*/ 0 w 9219372"/>
              <a:gd name="connsiteY0" fmla="*/ 5219700 h 5219700"/>
              <a:gd name="connsiteX1" fmla="*/ 0 w 9219372"/>
              <a:gd name="connsiteY1" fmla="*/ 1270 h 5219700"/>
              <a:gd name="connsiteX2" fmla="*/ 9185275 w 9219372"/>
              <a:gd name="connsiteY2" fmla="*/ 0 h 5219700"/>
              <a:gd name="connsiteX3" fmla="*/ 9219372 w 9219372"/>
              <a:gd name="connsiteY3" fmla="*/ 1270 h 5219700"/>
              <a:gd name="connsiteX4" fmla="*/ 9219372 w 9219372"/>
              <a:gd name="connsiteY4" fmla="*/ 5219700 h 5219700"/>
              <a:gd name="connsiteX5" fmla="*/ 0 w 9219372"/>
              <a:gd name="connsiteY5" fmla="*/ 5219700 h 5219700"/>
              <a:gd name="connsiteX0" fmla="*/ 0 w 9219372"/>
              <a:gd name="connsiteY0" fmla="*/ 5219700 h 5219700"/>
              <a:gd name="connsiteX1" fmla="*/ 0 w 9219372"/>
              <a:gd name="connsiteY1" fmla="*/ 1270 h 5219700"/>
              <a:gd name="connsiteX2" fmla="*/ 8658225 w 9219372"/>
              <a:gd name="connsiteY2" fmla="*/ 0 h 5219700"/>
              <a:gd name="connsiteX3" fmla="*/ 9185275 w 9219372"/>
              <a:gd name="connsiteY3" fmla="*/ 0 h 5219700"/>
              <a:gd name="connsiteX4" fmla="*/ 9219372 w 9219372"/>
              <a:gd name="connsiteY4" fmla="*/ 1270 h 5219700"/>
              <a:gd name="connsiteX5" fmla="*/ 9219372 w 9219372"/>
              <a:gd name="connsiteY5" fmla="*/ 5219700 h 5219700"/>
              <a:gd name="connsiteX6" fmla="*/ 0 w 9219372"/>
              <a:gd name="connsiteY6" fmla="*/ 5219700 h 5219700"/>
              <a:gd name="connsiteX0" fmla="*/ 0 w 9219372"/>
              <a:gd name="connsiteY0" fmla="*/ 5222875 h 5222875"/>
              <a:gd name="connsiteX1" fmla="*/ 0 w 9219372"/>
              <a:gd name="connsiteY1" fmla="*/ 4445 h 5222875"/>
              <a:gd name="connsiteX2" fmla="*/ 4667250 w 9219372"/>
              <a:gd name="connsiteY2" fmla="*/ 0 h 5222875"/>
              <a:gd name="connsiteX3" fmla="*/ 8658225 w 9219372"/>
              <a:gd name="connsiteY3" fmla="*/ 3175 h 5222875"/>
              <a:gd name="connsiteX4" fmla="*/ 9185275 w 9219372"/>
              <a:gd name="connsiteY4" fmla="*/ 3175 h 5222875"/>
              <a:gd name="connsiteX5" fmla="*/ 9219372 w 9219372"/>
              <a:gd name="connsiteY5" fmla="*/ 4445 h 5222875"/>
              <a:gd name="connsiteX6" fmla="*/ 9219372 w 9219372"/>
              <a:gd name="connsiteY6" fmla="*/ 5222875 h 5222875"/>
              <a:gd name="connsiteX7" fmla="*/ 0 w 9219372"/>
              <a:gd name="connsiteY7" fmla="*/ 5222875 h 5222875"/>
              <a:gd name="connsiteX0" fmla="*/ 0 w 9219372"/>
              <a:gd name="connsiteY0" fmla="*/ 5222875 h 5222875"/>
              <a:gd name="connsiteX1" fmla="*/ 0 w 9219372"/>
              <a:gd name="connsiteY1" fmla="*/ 4445 h 5222875"/>
              <a:gd name="connsiteX2" fmla="*/ 4667250 w 9219372"/>
              <a:gd name="connsiteY2" fmla="*/ 0 h 5222875"/>
              <a:gd name="connsiteX3" fmla="*/ 5146675 w 9219372"/>
              <a:gd name="connsiteY3" fmla="*/ 1 h 5222875"/>
              <a:gd name="connsiteX4" fmla="*/ 8658225 w 9219372"/>
              <a:gd name="connsiteY4" fmla="*/ 3175 h 5222875"/>
              <a:gd name="connsiteX5" fmla="*/ 9185275 w 9219372"/>
              <a:gd name="connsiteY5" fmla="*/ 3175 h 5222875"/>
              <a:gd name="connsiteX6" fmla="*/ 9219372 w 9219372"/>
              <a:gd name="connsiteY6" fmla="*/ 4445 h 5222875"/>
              <a:gd name="connsiteX7" fmla="*/ 9219372 w 9219372"/>
              <a:gd name="connsiteY7" fmla="*/ 5222875 h 5222875"/>
              <a:gd name="connsiteX8" fmla="*/ 0 w 9219372"/>
              <a:gd name="connsiteY8" fmla="*/ 5222875 h 5222875"/>
              <a:gd name="connsiteX0" fmla="*/ 0 w 9219372"/>
              <a:gd name="connsiteY0" fmla="*/ 5222875 h 5238752"/>
              <a:gd name="connsiteX1" fmla="*/ 0 w 9219372"/>
              <a:gd name="connsiteY1" fmla="*/ 4445 h 5238752"/>
              <a:gd name="connsiteX2" fmla="*/ 4667250 w 9219372"/>
              <a:gd name="connsiteY2" fmla="*/ 0 h 5238752"/>
              <a:gd name="connsiteX3" fmla="*/ 2860675 w 9219372"/>
              <a:gd name="connsiteY3" fmla="*/ 5238752 h 5238752"/>
              <a:gd name="connsiteX4" fmla="*/ 8658225 w 9219372"/>
              <a:gd name="connsiteY4" fmla="*/ 3175 h 5238752"/>
              <a:gd name="connsiteX5" fmla="*/ 9185275 w 9219372"/>
              <a:gd name="connsiteY5" fmla="*/ 3175 h 5238752"/>
              <a:gd name="connsiteX6" fmla="*/ 9219372 w 9219372"/>
              <a:gd name="connsiteY6" fmla="*/ 4445 h 5238752"/>
              <a:gd name="connsiteX7" fmla="*/ 9219372 w 9219372"/>
              <a:gd name="connsiteY7" fmla="*/ 5222875 h 5238752"/>
              <a:gd name="connsiteX8" fmla="*/ 0 w 9219372"/>
              <a:gd name="connsiteY8" fmla="*/ 5222875 h 5238752"/>
              <a:gd name="connsiteX0" fmla="*/ 0 w 9219372"/>
              <a:gd name="connsiteY0" fmla="*/ 5222875 h 5238752"/>
              <a:gd name="connsiteX1" fmla="*/ 0 w 9219372"/>
              <a:gd name="connsiteY1" fmla="*/ 4445 h 5238752"/>
              <a:gd name="connsiteX2" fmla="*/ 4667250 w 9219372"/>
              <a:gd name="connsiteY2" fmla="*/ 0 h 5238752"/>
              <a:gd name="connsiteX3" fmla="*/ 2860675 w 9219372"/>
              <a:gd name="connsiteY3" fmla="*/ 5238752 h 5238752"/>
              <a:gd name="connsiteX4" fmla="*/ 7210425 w 9219372"/>
              <a:gd name="connsiteY4" fmla="*/ 5222875 h 5238752"/>
              <a:gd name="connsiteX5" fmla="*/ 9185275 w 9219372"/>
              <a:gd name="connsiteY5" fmla="*/ 3175 h 5238752"/>
              <a:gd name="connsiteX6" fmla="*/ 9219372 w 9219372"/>
              <a:gd name="connsiteY6" fmla="*/ 4445 h 5238752"/>
              <a:gd name="connsiteX7" fmla="*/ 9219372 w 9219372"/>
              <a:gd name="connsiteY7" fmla="*/ 5222875 h 5238752"/>
              <a:gd name="connsiteX8" fmla="*/ 0 w 9219372"/>
              <a:gd name="connsiteY8" fmla="*/ 5222875 h 5238752"/>
              <a:gd name="connsiteX0" fmla="*/ 0 w 9219372"/>
              <a:gd name="connsiteY0" fmla="*/ 5222875 h 5238752"/>
              <a:gd name="connsiteX1" fmla="*/ 0 w 9219372"/>
              <a:gd name="connsiteY1" fmla="*/ 4445 h 5238752"/>
              <a:gd name="connsiteX2" fmla="*/ 4667250 w 9219372"/>
              <a:gd name="connsiteY2" fmla="*/ 0 h 5238752"/>
              <a:gd name="connsiteX3" fmla="*/ 2860675 w 9219372"/>
              <a:gd name="connsiteY3" fmla="*/ 5238752 h 5238752"/>
              <a:gd name="connsiteX4" fmla="*/ 7205662 w 9219372"/>
              <a:gd name="connsiteY4" fmla="*/ 5232400 h 5238752"/>
              <a:gd name="connsiteX5" fmla="*/ 9185275 w 9219372"/>
              <a:gd name="connsiteY5" fmla="*/ 3175 h 5238752"/>
              <a:gd name="connsiteX6" fmla="*/ 9219372 w 9219372"/>
              <a:gd name="connsiteY6" fmla="*/ 4445 h 5238752"/>
              <a:gd name="connsiteX7" fmla="*/ 9219372 w 9219372"/>
              <a:gd name="connsiteY7" fmla="*/ 5222875 h 5238752"/>
              <a:gd name="connsiteX8" fmla="*/ 0 w 9219372"/>
              <a:gd name="connsiteY8" fmla="*/ 5222875 h 5238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19372" h="5238752">
                <a:moveTo>
                  <a:pt x="0" y="5222875"/>
                </a:moveTo>
                <a:lnTo>
                  <a:pt x="0" y="4445"/>
                </a:lnTo>
                <a:lnTo>
                  <a:pt x="4667250" y="0"/>
                </a:lnTo>
                <a:lnTo>
                  <a:pt x="2860675" y="5238752"/>
                </a:lnTo>
                <a:lnTo>
                  <a:pt x="7205662" y="5232400"/>
                </a:lnTo>
                <a:lnTo>
                  <a:pt x="9185275" y="3175"/>
                </a:lnTo>
                <a:lnTo>
                  <a:pt x="9219372" y="4445"/>
                </a:lnTo>
                <a:lnTo>
                  <a:pt x="9219372" y="5222875"/>
                </a:lnTo>
                <a:lnTo>
                  <a:pt x="0" y="5222875"/>
                </a:lnTo>
                <a:close/>
              </a:path>
            </a:pathLst>
          </a:custGeom>
          <a:solidFill>
            <a:schemeClr val="bg2"/>
          </a:solidFill>
        </p:spPr>
        <p:txBody>
          <a:bodyPr lIns="828000" tIns="2484000"/>
          <a:lstStyle>
            <a:lvl1pPr>
              <a:defRPr lang="en-US" sz="1400" b="1">
                <a:solidFill>
                  <a:schemeClr val="bg1"/>
                </a:solidFill>
                <a:sym typeface="Wingdings" panose="05000000000000000000" pitchFamily="2" charset="2"/>
              </a:defRPr>
            </a:lvl1pPr>
          </a:lstStyle>
          <a:p>
            <a:r>
              <a:rPr lang="en-AU" dirty="0"/>
              <a:t>Click on icon to import picture   </a:t>
            </a:r>
            <a:endParaRPr lang="en-US" dirty="0"/>
          </a:p>
        </p:txBody>
      </p:sp>
    </p:spTree>
    <p:extLst>
      <p:ext uri="{BB962C8B-B14F-4D97-AF65-F5344CB8AC3E}">
        <p14:creationId xmlns:p14="http://schemas.microsoft.com/office/powerpoint/2010/main" val="2705220173"/>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ver with image light">
    <p:spTree>
      <p:nvGrpSpPr>
        <p:cNvPr id="1" name=""/>
        <p:cNvGrpSpPr/>
        <p:nvPr/>
      </p:nvGrpSpPr>
      <p:grpSpPr>
        <a:xfrm>
          <a:off x="0" y="0"/>
          <a:ext cx="0" cy="0"/>
          <a:chOff x="0" y="0"/>
          <a:chExt cx="0" cy="0"/>
        </a:xfrm>
      </p:grpSpPr>
      <p:pic>
        <p:nvPicPr>
          <p:cNvPr id="21" name="Pictur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95788" y="4802592"/>
            <a:ext cx="1234196" cy="567385"/>
          </a:xfrm>
          <a:prstGeom prst="rect">
            <a:avLst/>
          </a:prstGeom>
        </p:spPr>
      </p:pic>
      <p:sp>
        <p:nvSpPr>
          <p:cNvPr id="22" name="Date Placeholder 3"/>
          <p:cNvSpPr txBox="1">
            <a:spLocks/>
          </p:cNvSpPr>
          <p:nvPr userDrawn="1"/>
        </p:nvSpPr>
        <p:spPr>
          <a:xfrm>
            <a:off x="4395788" y="5878207"/>
            <a:ext cx="1269504" cy="216024"/>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900" dirty="0">
                <a:solidFill>
                  <a:schemeClr val="tx1"/>
                </a:solidFill>
                <a:latin typeface="Segoe UI" panose="020B0502040204020203" pitchFamily="34" charset="0"/>
                <a:ea typeface="Segoe UI" panose="020B0502040204020203" pitchFamily="34" charset="0"/>
                <a:cs typeface="Segoe UI" panose="020B0502040204020203" pitchFamily="34" charset="0"/>
              </a:rPr>
              <a:t>www.</a:t>
            </a:r>
            <a:r>
              <a:rPr lang="en-AU" sz="900" b="1" dirty="0">
                <a:solidFill>
                  <a:schemeClr val="tx1"/>
                </a:solidFill>
                <a:latin typeface="Segoe UI" panose="020B0502040204020203" pitchFamily="34" charset="0"/>
                <a:ea typeface="Segoe UI" panose="020B0502040204020203" pitchFamily="34" charset="0"/>
                <a:cs typeface="Segoe UI" panose="020B0502040204020203" pitchFamily="34" charset="0"/>
              </a:rPr>
              <a:t>advisian</a:t>
            </a:r>
            <a:r>
              <a:rPr lang="en-AU" sz="900" dirty="0">
                <a:solidFill>
                  <a:schemeClr val="tx1"/>
                </a:solidFill>
                <a:latin typeface="Segoe UI" panose="020B0502040204020203" pitchFamily="34" charset="0"/>
                <a:ea typeface="Segoe UI" panose="020B0502040204020203" pitchFamily="34" charset="0"/>
                <a:cs typeface="Segoe UI" panose="020B0502040204020203" pitchFamily="34" charset="0"/>
              </a:rPr>
              <a:t>.com</a:t>
            </a:r>
          </a:p>
        </p:txBody>
      </p:sp>
      <p:sp>
        <p:nvSpPr>
          <p:cNvPr id="28" name="Text Placeholder 26"/>
          <p:cNvSpPr>
            <a:spLocks noGrp="1"/>
          </p:cNvSpPr>
          <p:nvPr>
            <p:ph type="body" sz="quarter" idx="11"/>
          </p:nvPr>
        </p:nvSpPr>
        <p:spPr>
          <a:xfrm>
            <a:off x="4395788" y="3556000"/>
            <a:ext cx="4024312" cy="677333"/>
          </a:xfrm>
          <a:prstGeom prst="rect">
            <a:avLst/>
          </a:prstGeom>
        </p:spPr>
        <p:txBody>
          <a:bodyPr lIns="0" tIns="0" rIns="0" bIns="0">
            <a:noAutofit/>
          </a:bodyPr>
          <a:lstStyle>
            <a:lvl1pPr>
              <a:spcBef>
                <a:spcPts val="0"/>
              </a:spcBef>
              <a:spcAft>
                <a:spcPts val="0"/>
              </a:spcAft>
              <a:defRPr sz="1000" b="0">
                <a:solidFill>
                  <a:schemeClr val="tx1"/>
                </a:solidFill>
              </a:defRPr>
            </a:lvl1pPr>
          </a:lstStyle>
          <a:p>
            <a:pPr lvl="0"/>
            <a:r>
              <a:rPr lang="en-US" dirty="0"/>
              <a:t>Click to edit Master text styles</a:t>
            </a:r>
          </a:p>
        </p:txBody>
      </p:sp>
      <p:sp>
        <p:nvSpPr>
          <p:cNvPr id="29" name="Title 28"/>
          <p:cNvSpPr>
            <a:spLocks noGrp="1"/>
          </p:cNvSpPr>
          <p:nvPr>
            <p:ph type="title"/>
          </p:nvPr>
        </p:nvSpPr>
        <p:spPr>
          <a:xfrm>
            <a:off x="4406906" y="644514"/>
            <a:ext cx="3987801" cy="2064823"/>
          </a:xfrm>
        </p:spPr>
        <p:txBody>
          <a:bodyPr>
            <a:normAutofit/>
          </a:bodyPr>
          <a:lstStyle>
            <a:lvl1pPr>
              <a:lnSpc>
                <a:spcPts val="2800"/>
              </a:lnSpc>
              <a:defRPr sz="2800" b="0">
                <a:solidFill>
                  <a:schemeClr val="tx1"/>
                </a:solidFill>
              </a:defRPr>
            </a:lvl1pPr>
          </a:lstStyle>
          <a:p>
            <a:r>
              <a:rPr lang="en-US" dirty="0"/>
              <a:t>Click to edit Master title style</a:t>
            </a:r>
          </a:p>
        </p:txBody>
      </p:sp>
      <p:sp>
        <p:nvSpPr>
          <p:cNvPr id="33" name="Text Placeholder 32"/>
          <p:cNvSpPr>
            <a:spLocks noGrp="1"/>
          </p:cNvSpPr>
          <p:nvPr>
            <p:ph type="body" sz="quarter" idx="12"/>
          </p:nvPr>
        </p:nvSpPr>
        <p:spPr>
          <a:xfrm>
            <a:off x="4406900" y="2861736"/>
            <a:ext cx="4006850" cy="601133"/>
          </a:xfrm>
          <a:prstGeom prst="rect">
            <a:avLst/>
          </a:prstGeom>
        </p:spPr>
        <p:txBody>
          <a:bodyPr lIns="0" tIns="0" rIns="0" bIns="0"/>
          <a:lstStyle>
            <a:lvl1pPr>
              <a:defRPr b="0">
                <a:solidFill>
                  <a:schemeClr val="tx1"/>
                </a:solidFill>
              </a:defRPr>
            </a:lvl1pPr>
          </a:lstStyle>
          <a:p>
            <a:pPr lvl="0"/>
            <a:r>
              <a:rPr lang="en-US" dirty="0"/>
              <a:t>Click to edit Master text styles</a:t>
            </a:r>
          </a:p>
        </p:txBody>
      </p:sp>
      <p:sp>
        <p:nvSpPr>
          <p:cNvPr id="35" name="Picture Placeholder 17"/>
          <p:cNvSpPr>
            <a:spLocks noGrp="1"/>
          </p:cNvSpPr>
          <p:nvPr>
            <p:ph type="pic" sz="quarter" idx="14" hasCustomPrompt="1"/>
          </p:nvPr>
        </p:nvSpPr>
        <p:spPr>
          <a:xfrm>
            <a:off x="-38100" y="-46567"/>
            <a:ext cx="9219372" cy="6985003"/>
          </a:xfrm>
          <a:custGeom>
            <a:avLst/>
            <a:gdLst>
              <a:gd name="connsiteX0" fmla="*/ 0 w 9219372"/>
              <a:gd name="connsiteY0" fmla="*/ 5218430 h 5218430"/>
              <a:gd name="connsiteX1" fmla="*/ 0 w 9219372"/>
              <a:gd name="connsiteY1" fmla="*/ 0 h 5218430"/>
              <a:gd name="connsiteX2" fmla="*/ 9219372 w 9219372"/>
              <a:gd name="connsiteY2" fmla="*/ 0 h 5218430"/>
              <a:gd name="connsiteX3" fmla="*/ 9219372 w 9219372"/>
              <a:gd name="connsiteY3" fmla="*/ 5218430 h 5218430"/>
              <a:gd name="connsiteX4" fmla="*/ 0 w 9219372"/>
              <a:gd name="connsiteY4" fmla="*/ 5218430 h 5218430"/>
              <a:gd name="connsiteX0" fmla="*/ 0 w 9219372"/>
              <a:gd name="connsiteY0" fmla="*/ 5219700 h 5219700"/>
              <a:gd name="connsiteX1" fmla="*/ 0 w 9219372"/>
              <a:gd name="connsiteY1" fmla="*/ 1270 h 5219700"/>
              <a:gd name="connsiteX2" fmla="*/ 9185275 w 9219372"/>
              <a:gd name="connsiteY2" fmla="*/ 0 h 5219700"/>
              <a:gd name="connsiteX3" fmla="*/ 9219372 w 9219372"/>
              <a:gd name="connsiteY3" fmla="*/ 1270 h 5219700"/>
              <a:gd name="connsiteX4" fmla="*/ 9219372 w 9219372"/>
              <a:gd name="connsiteY4" fmla="*/ 5219700 h 5219700"/>
              <a:gd name="connsiteX5" fmla="*/ 0 w 9219372"/>
              <a:gd name="connsiteY5" fmla="*/ 5219700 h 5219700"/>
              <a:gd name="connsiteX0" fmla="*/ 0 w 9219372"/>
              <a:gd name="connsiteY0" fmla="*/ 5219700 h 5219700"/>
              <a:gd name="connsiteX1" fmla="*/ 0 w 9219372"/>
              <a:gd name="connsiteY1" fmla="*/ 1270 h 5219700"/>
              <a:gd name="connsiteX2" fmla="*/ 8658225 w 9219372"/>
              <a:gd name="connsiteY2" fmla="*/ 0 h 5219700"/>
              <a:gd name="connsiteX3" fmla="*/ 9185275 w 9219372"/>
              <a:gd name="connsiteY3" fmla="*/ 0 h 5219700"/>
              <a:gd name="connsiteX4" fmla="*/ 9219372 w 9219372"/>
              <a:gd name="connsiteY4" fmla="*/ 1270 h 5219700"/>
              <a:gd name="connsiteX5" fmla="*/ 9219372 w 9219372"/>
              <a:gd name="connsiteY5" fmla="*/ 5219700 h 5219700"/>
              <a:gd name="connsiteX6" fmla="*/ 0 w 9219372"/>
              <a:gd name="connsiteY6" fmla="*/ 5219700 h 5219700"/>
              <a:gd name="connsiteX0" fmla="*/ 0 w 9219372"/>
              <a:gd name="connsiteY0" fmla="*/ 5222875 h 5222875"/>
              <a:gd name="connsiteX1" fmla="*/ 0 w 9219372"/>
              <a:gd name="connsiteY1" fmla="*/ 4445 h 5222875"/>
              <a:gd name="connsiteX2" fmla="*/ 4667250 w 9219372"/>
              <a:gd name="connsiteY2" fmla="*/ 0 h 5222875"/>
              <a:gd name="connsiteX3" fmla="*/ 8658225 w 9219372"/>
              <a:gd name="connsiteY3" fmla="*/ 3175 h 5222875"/>
              <a:gd name="connsiteX4" fmla="*/ 9185275 w 9219372"/>
              <a:gd name="connsiteY4" fmla="*/ 3175 h 5222875"/>
              <a:gd name="connsiteX5" fmla="*/ 9219372 w 9219372"/>
              <a:gd name="connsiteY5" fmla="*/ 4445 h 5222875"/>
              <a:gd name="connsiteX6" fmla="*/ 9219372 w 9219372"/>
              <a:gd name="connsiteY6" fmla="*/ 5222875 h 5222875"/>
              <a:gd name="connsiteX7" fmla="*/ 0 w 9219372"/>
              <a:gd name="connsiteY7" fmla="*/ 5222875 h 5222875"/>
              <a:gd name="connsiteX0" fmla="*/ 0 w 9219372"/>
              <a:gd name="connsiteY0" fmla="*/ 5222875 h 5222875"/>
              <a:gd name="connsiteX1" fmla="*/ 0 w 9219372"/>
              <a:gd name="connsiteY1" fmla="*/ 4445 h 5222875"/>
              <a:gd name="connsiteX2" fmla="*/ 4667250 w 9219372"/>
              <a:gd name="connsiteY2" fmla="*/ 0 h 5222875"/>
              <a:gd name="connsiteX3" fmla="*/ 5146675 w 9219372"/>
              <a:gd name="connsiteY3" fmla="*/ 1 h 5222875"/>
              <a:gd name="connsiteX4" fmla="*/ 8658225 w 9219372"/>
              <a:gd name="connsiteY4" fmla="*/ 3175 h 5222875"/>
              <a:gd name="connsiteX5" fmla="*/ 9185275 w 9219372"/>
              <a:gd name="connsiteY5" fmla="*/ 3175 h 5222875"/>
              <a:gd name="connsiteX6" fmla="*/ 9219372 w 9219372"/>
              <a:gd name="connsiteY6" fmla="*/ 4445 h 5222875"/>
              <a:gd name="connsiteX7" fmla="*/ 9219372 w 9219372"/>
              <a:gd name="connsiteY7" fmla="*/ 5222875 h 5222875"/>
              <a:gd name="connsiteX8" fmla="*/ 0 w 9219372"/>
              <a:gd name="connsiteY8" fmla="*/ 5222875 h 5222875"/>
              <a:gd name="connsiteX0" fmla="*/ 0 w 9219372"/>
              <a:gd name="connsiteY0" fmla="*/ 5222875 h 5238752"/>
              <a:gd name="connsiteX1" fmla="*/ 0 w 9219372"/>
              <a:gd name="connsiteY1" fmla="*/ 4445 h 5238752"/>
              <a:gd name="connsiteX2" fmla="*/ 4667250 w 9219372"/>
              <a:gd name="connsiteY2" fmla="*/ 0 h 5238752"/>
              <a:gd name="connsiteX3" fmla="*/ 2860675 w 9219372"/>
              <a:gd name="connsiteY3" fmla="*/ 5238752 h 5238752"/>
              <a:gd name="connsiteX4" fmla="*/ 8658225 w 9219372"/>
              <a:gd name="connsiteY4" fmla="*/ 3175 h 5238752"/>
              <a:gd name="connsiteX5" fmla="*/ 9185275 w 9219372"/>
              <a:gd name="connsiteY5" fmla="*/ 3175 h 5238752"/>
              <a:gd name="connsiteX6" fmla="*/ 9219372 w 9219372"/>
              <a:gd name="connsiteY6" fmla="*/ 4445 h 5238752"/>
              <a:gd name="connsiteX7" fmla="*/ 9219372 w 9219372"/>
              <a:gd name="connsiteY7" fmla="*/ 5222875 h 5238752"/>
              <a:gd name="connsiteX8" fmla="*/ 0 w 9219372"/>
              <a:gd name="connsiteY8" fmla="*/ 5222875 h 5238752"/>
              <a:gd name="connsiteX0" fmla="*/ 0 w 9219372"/>
              <a:gd name="connsiteY0" fmla="*/ 5222875 h 5238752"/>
              <a:gd name="connsiteX1" fmla="*/ 0 w 9219372"/>
              <a:gd name="connsiteY1" fmla="*/ 4445 h 5238752"/>
              <a:gd name="connsiteX2" fmla="*/ 4667250 w 9219372"/>
              <a:gd name="connsiteY2" fmla="*/ 0 h 5238752"/>
              <a:gd name="connsiteX3" fmla="*/ 2860675 w 9219372"/>
              <a:gd name="connsiteY3" fmla="*/ 5238752 h 5238752"/>
              <a:gd name="connsiteX4" fmla="*/ 7210425 w 9219372"/>
              <a:gd name="connsiteY4" fmla="*/ 5222875 h 5238752"/>
              <a:gd name="connsiteX5" fmla="*/ 9185275 w 9219372"/>
              <a:gd name="connsiteY5" fmla="*/ 3175 h 5238752"/>
              <a:gd name="connsiteX6" fmla="*/ 9219372 w 9219372"/>
              <a:gd name="connsiteY6" fmla="*/ 4445 h 5238752"/>
              <a:gd name="connsiteX7" fmla="*/ 9219372 w 9219372"/>
              <a:gd name="connsiteY7" fmla="*/ 5222875 h 5238752"/>
              <a:gd name="connsiteX8" fmla="*/ 0 w 9219372"/>
              <a:gd name="connsiteY8" fmla="*/ 5222875 h 5238752"/>
              <a:gd name="connsiteX0" fmla="*/ 0 w 9219372"/>
              <a:gd name="connsiteY0" fmla="*/ 5222875 h 5238752"/>
              <a:gd name="connsiteX1" fmla="*/ 0 w 9219372"/>
              <a:gd name="connsiteY1" fmla="*/ 4445 h 5238752"/>
              <a:gd name="connsiteX2" fmla="*/ 4667250 w 9219372"/>
              <a:gd name="connsiteY2" fmla="*/ 0 h 5238752"/>
              <a:gd name="connsiteX3" fmla="*/ 2860675 w 9219372"/>
              <a:gd name="connsiteY3" fmla="*/ 5238752 h 5238752"/>
              <a:gd name="connsiteX4" fmla="*/ 7205662 w 9219372"/>
              <a:gd name="connsiteY4" fmla="*/ 5232400 h 5238752"/>
              <a:gd name="connsiteX5" fmla="*/ 9185275 w 9219372"/>
              <a:gd name="connsiteY5" fmla="*/ 3175 h 5238752"/>
              <a:gd name="connsiteX6" fmla="*/ 9219372 w 9219372"/>
              <a:gd name="connsiteY6" fmla="*/ 4445 h 5238752"/>
              <a:gd name="connsiteX7" fmla="*/ 9219372 w 9219372"/>
              <a:gd name="connsiteY7" fmla="*/ 5222875 h 5238752"/>
              <a:gd name="connsiteX8" fmla="*/ 0 w 9219372"/>
              <a:gd name="connsiteY8" fmla="*/ 5222875 h 5238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19372" h="5238752">
                <a:moveTo>
                  <a:pt x="0" y="5222875"/>
                </a:moveTo>
                <a:lnTo>
                  <a:pt x="0" y="4445"/>
                </a:lnTo>
                <a:lnTo>
                  <a:pt x="4667250" y="0"/>
                </a:lnTo>
                <a:lnTo>
                  <a:pt x="2860675" y="5238752"/>
                </a:lnTo>
                <a:lnTo>
                  <a:pt x="7205662" y="5232400"/>
                </a:lnTo>
                <a:lnTo>
                  <a:pt x="9185275" y="3175"/>
                </a:lnTo>
                <a:lnTo>
                  <a:pt x="9219372" y="4445"/>
                </a:lnTo>
                <a:lnTo>
                  <a:pt x="9219372" y="5222875"/>
                </a:lnTo>
                <a:lnTo>
                  <a:pt x="0" y="5222875"/>
                </a:lnTo>
                <a:close/>
              </a:path>
            </a:pathLst>
          </a:custGeom>
          <a:solidFill>
            <a:schemeClr val="bg2"/>
          </a:solidFill>
        </p:spPr>
        <p:txBody>
          <a:bodyPr lIns="828000" tIns="2484000"/>
          <a:lstStyle>
            <a:lvl1pPr>
              <a:defRPr lang="en-US" sz="1400" b="1">
                <a:solidFill>
                  <a:schemeClr val="tx1"/>
                </a:solidFill>
                <a:sym typeface="Wingdings" panose="05000000000000000000" pitchFamily="2" charset="2"/>
              </a:defRPr>
            </a:lvl1pPr>
          </a:lstStyle>
          <a:p>
            <a:r>
              <a:rPr lang="en-AU" dirty="0"/>
              <a:t>Click on icon to import picture   </a:t>
            </a:r>
            <a:endParaRPr lang="en-US" dirty="0"/>
          </a:p>
        </p:txBody>
      </p:sp>
      <p:sp>
        <p:nvSpPr>
          <p:cNvPr id="3" name="Picture Placeholder 2"/>
          <p:cNvSpPr>
            <a:spLocks noGrp="1"/>
          </p:cNvSpPr>
          <p:nvPr>
            <p:ph type="pic" sz="quarter" idx="15"/>
          </p:nvPr>
        </p:nvSpPr>
        <p:spPr>
          <a:xfrm>
            <a:off x="6277928" y="4802717"/>
            <a:ext cx="1270000" cy="567267"/>
          </a:xfrm>
          <a:prstGeom prst="rect">
            <a:avLst/>
          </a:prstGeom>
        </p:spPr>
        <p:txBody>
          <a:bodyPr/>
          <a:lstStyle>
            <a:lvl1pPr algn="ctr">
              <a:defRPr sz="800" b="1"/>
            </a:lvl1pPr>
          </a:lstStyle>
          <a:p>
            <a:endParaRPr lang="en-US"/>
          </a:p>
        </p:txBody>
      </p:sp>
    </p:spTree>
    <p:extLst>
      <p:ext uri="{BB962C8B-B14F-4D97-AF65-F5344CB8AC3E}">
        <p14:creationId xmlns:p14="http://schemas.microsoft.com/office/powerpoint/2010/main" val="2404368355"/>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over with image 2">
    <p:spTree>
      <p:nvGrpSpPr>
        <p:cNvPr id="1" name=""/>
        <p:cNvGrpSpPr/>
        <p:nvPr/>
      </p:nvGrpSpPr>
      <p:grpSpPr>
        <a:xfrm>
          <a:off x="0" y="0"/>
          <a:ext cx="0" cy="0"/>
          <a:chOff x="0" y="0"/>
          <a:chExt cx="0" cy="0"/>
        </a:xfrm>
      </p:grpSpPr>
      <p:pic>
        <p:nvPicPr>
          <p:cNvPr id="21" name="Pictur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95558" y="5250288"/>
            <a:ext cx="1234196" cy="567385"/>
          </a:xfrm>
          <a:prstGeom prst="rect">
            <a:avLst/>
          </a:prstGeom>
        </p:spPr>
      </p:pic>
      <p:sp>
        <p:nvSpPr>
          <p:cNvPr id="22" name="Date Placeholder 3"/>
          <p:cNvSpPr txBox="1">
            <a:spLocks/>
          </p:cNvSpPr>
          <p:nvPr userDrawn="1"/>
        </p:nvSpPr>
        <p:spPr>
          <a:xfrm>
            <a:off x="5095558" y="6301149"/>
            <a:ext cx="1269504" cy="216024"/>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800" dirty="0">
                <a:solidFill>
                  <a:schemeClr val="tx1"/>
                </a:solidFill>
                <a:latin typeface="Segoe UI" panose="020B0502040204020203" pitchFamily="34" charset="0"/>
                <a:ea typeface="Segoe UI" panose="020B0502040204020203" pitchFamily="34" charset="0"/>
                <a:cs typeface="Segoe UI" panose="020B0502040204020203" pitchFamily="34" charset="0"/>
              </a:rPr>
              <a:t>www.</a:t>
            </a:r>
            <a:r>
              <a:rPr lang="en-AU" sz="800" b="1" dirty="0">
                <a:solidFill>
                  <a:schemeClr val="tx1"/>
                </a:solidFill>
                <a:latin typeface="Segoe UI" panose="020B0502040204020203" pitchFamily="34" charset="0"/>
                <a:ea typeface="Segoe UI" panose="020B0502040204020203" pitchFamily="34" charset="0"/>
                <a:cs typeface="Segoe UI" panose="020B0502040204020203" pitchFamily="34" charset="0"/>
              </a:rPr>
              <a:t>advisian</a:t>
            </a:r>
            <a:r>
              <a:rPr lang="en-AU" sz="800" dirty="0">
                <a:solidFill>
                  <a:schemeClr val="tx1"/>
                </a:solidFill>
                <a:latin typeface="Segoe UI" panose="020B0502040204020203" pitchFamily="34" charset="0"/>
                <a:ea typeface="Segoe UI" panose="020B0502040204020203" pitchFamily="34" charset="0"/>
                <a:cs typeface="Segoe UI" panose="020B0502040204020203" pitchFamily="34" charset="0"/>
              </a:rPr>
              <a:t>.com</a:t>
            </a:r>
          </a:p>
        </p:txBody>
      </p:sp>
      <p:sp>
        <p:nvSpPr>
          <p:cNvPr id="28" name="Text Placeholder 26"/>
          <p:cNvSpPr>
            <a:spLocks noGrp="1"/>
          </p:cNvSpPr>
          <p:nvPr>
            <p:ph type="body" sz="quarter" idx="11"/>
          </p:nvPr>
        </p:nvSpPr>
        <p:spPr>
          <a:xfrm>
            <a:off x="5095563" y="4114800"/>
            <a:ext cx="3689805" cy="677333"/>
          </a:xfrm>
          <a:prstGeom prst="rect">
            <a:avLst/>
          </a:prstGeom>
        </p:spPr>
        <p:txBody>
          <a:bodyPr lIns="0" tIns="0" rIns="0" bIns="0">
            <a:noAutofit/>
          </a:bodyPr>
          <a:lstStyle>
            <a:lvl1pPr>
              <a:spcBef>
                <a:spcPts val="0"/>
              </a:spcBef>
              <a:spcAft>
                <a:spcPts val="0"/>
              </a:spcAft>
              <a:defRPr sz="1000" b="0">
                <a:solidFill>
                  <a:schemeClr val="tx1"/>
                </a:solidFill>
              </a:defRPr>
            </a:lvl1pPr>
          </a:lstStyle>
          <a:p>
            <a:pPr lvl="0"/>
            <a:r>
              <a:rPr lang="en-US" dirty="0"/>
              <a:t>Click to edit Master text styles</a:t>
            </a:r>
          </a:p>
        </p:txBody>
      </p:sp>
      <p:sp>
        <p:nvSpPr>
          <p:cNvPr id="29" name="Title 28"/>
          <p:cNvSpPr>
            <a:spLocks noGrp="1"/>
          </p:cNvSpPr>
          <p:nvPr>
            <p:ph type="title"/>
          </p:nvPr>
        </p:nvSpPr>
        <p:spPr>
          <a:xfrm>
            <a:off x="5106674" y="1203314"/>
            <a:ext cx="3656329" cy="2064823"/>
          </a:xfrm>
        </p:spPr>
        <p:txBody>
          <a:bodyPr>
            <a:normAutofit/>
          </a:bodyPr>
          <a:lstStyle>
            <a:lvl1pPr>
              <a:lnSpc>
                <a:spcPts val="2800"/>
              </a:lnSpc>
              <a:defRPr sz="2800" b="0">
                <a:solidFill>
                  <a:schemeClr val="tx1"/>
                </a:solidFill>
              </a:defRPr>
            </a:lvl1pPr>
          </a:lstStyle>
          <a:p>
            <a:r>
              <a:rPr lang="en-US" dirty="0"/>
              <a:t>Click to edit Master title style</a:t>
            </a:r>
          </a:p>
        </p:txBody>
      </p:sp>
      <p:sp>
        <p:nvSpPr>
          <p:cNvPr id="33" name="Text Placeholder 32"/>
          <p:cNvSpPr>
            <a:spLocks noGrp="1"/>
          </p:cNvSpPr>
          <p:nvPr>
            <p:ph type="body" sz="quarter" idx="12"/>
          </p:nvPr>
        </p:nvSpPr>
        <p:spPr>
          <a:xfrm>
            <a:off x="5106672" y="3420536"/>
            <a:ext cx="3673795" cy="601133"/>
          </a:xfrm>
          <a:prstGeom prst="rect">
            <a:avLst/>
          </a:prstGeom>
        </p:spPr>
        <p:txBody>
          <a:bodyPr lIns="0" tIns="0" rIns="0" bIns="0"/>
          <a:lstStyle>
            <a:lvl1pPr>
              <a:defRPr b="0">
                <a:solidFill>
                  <a:schemeClr val="tx1"/>
                </a:solidFill>
              </a:defRPr>
            </a:lvl1pPr>
          </a:lstStyle>
          <a:p>
            <a:pPr lvl="0"/>
            <a:r>
              <a:rPr lang="en-US" dirty="0"/>
              <a:t>Click to edit Master text styles</a:t>
            </a:r>
          </a:p>
        </p:txBody>
      </p:sp>
      <p:sp>
        <p:nvSpPr>
          <p:cNvPr id="3" name="Picture Placeholder 2"/>
          <p:cNvSpPr>
            <a:spLocks noGrp="1"/>
          </p:cNvSpPr>
          <p:nvPr>
            <p:ph type="pic" sz="quarter" idx="15"/>
          </p:nvPr>
        </p:nvSpPr>
        <p:spPr>
          <a:xfrm>
            <a:off x="6977698" y="5250413"/>
            <a:ext cx="1270000" cy="567267"/>
          </a:xfrm>
          <a:prstGeom prst="rect">
            <a:avLst/>
          </a:prstGeom>
        </p:spPr>
        <p:txBody>
          <a:bodyPr/>
          <a:lstStyle>
            <a:lvl1pPr algn="ctr">
              <a:defRPr sz="800" b="1"/>
            </a:lvl1pPr>
          </a:lstStyle>
          <a:p>
            <a:endParaRPr lang="en-US"/>
          </a:p>
        </p:txBody>
      </p:sp>
      <p:sp>
        <p:nvSpPr>
          <p:cNvPr id="4" name="Picture Placeholder 3"/>
          <p:cNvSpPr>
            <a:spLocks noGrp="1"/>
          </p:cNvSpPr>
          <p:nvPr>
            <p:ph type="pic" sz="quarter" idx="16"/>
          </p:nvPr>
        </p:nvSpPr>
        <p:spPr>
          <a:xfrm>
            <a:off x="-92075" y="-101600"/>
            <a:ext cx="5518150" cy="7071784"/>
          </a:xfrm>
          <a:custGeom>
            <a:avLst/>
            <a:gdLst>
              <a:gd name="connsiteX0" fmla="*/ 0 w 5518150"/>
              <a:gd name="connsiteY0" fmla="*/ 0 h 5303838"/>
              <a:gd name="connsiteX1" fmla="*/ 5518150 w 5518150"/>
              <a:gd name="connsiteY1" fmla="*/ 0 h 5303838"/>
              <a:gd name="connsiteX2" fmla="*/ 5518150 w 5518150"/>
              <a:gd name="connsiteY2" fmla="*/ 5303838 h 5303838"/>
              <a:gd name="connsiteX3" fmla="*/ 0 w 5518150"/>
              <a:gd name="connsiteY3" fmla="*/ 5303838 h 5303838"/>
              <a:gd name="connsiteX4" fmla="*/ 0 w 5518150"/>
              <a:gd name="connsiteY4" fmla="*/ 0 h 5303838"/>
              <a:gd name="connsiteX0" fmla="*/ 0 w 5518150"/>
              <a:gd name="connsiteY0" fmla="*/ 0 h 5303838"/>
              <a:gd name="connsiteX1" fmla="*/ 5518150 w 5518150"/>
              <a:gd name="connsiteY1" fmla="*/ 0 h 5303838"/>
              <a:gd name="connsiteX2" fmla="*/ 5518150 w 5518150"/>
              <a:gd name="connsiteY2" fmla="*/ 5303838 h 5303838"/>
              <a:gd name="connsiteX3" fmla="*/ 3696335 w 5518150"/>
              <a:gd name="connsiteY3" fmla="*/ 5295900 h 5303838"/>
              <a:gd name="connsiteX4" fmla="*/ 0 w 5518150"/>
              <a:gd name="connsiteY4" fmla="*/ 5303838 h 5303838"/>
              <a:gd name="connsiteX5" fmla="*/ 0 w 5518150"/>
              <a:gd name="connsiteY5" fmla="*/ 0 h 5303838"/>
              <a:gd name="connsiteX0" fmla="*/ 0 w 5518150"/>
              <a:gd name="connsiteY0" fmla="*/ 0 h 5303838"/>
              <a:gd name="connsiteX1" fmla="*/ 5518150 w 5518150"/>
              <a:gd name="connsiteY1" fmla="*/ 0 h 5303838"/>
              <a:gd name="connsiteX2" fmla="*/ 3696335 w 5518150"/>
              <a:gd name="connsiteY2" fmla="*/ 5295900 h 5303838"/>
              <a:gd name="connsiteX3" fmla="*/ 0 w 5518150"/>
              <a:gd name="connsiteY3" fmla="*/ 5303838 h 5303838"/>
              <a:gd name="connsiteX4" fmla="*/ 0 w 5518150"/>
              <a:gd name="connsiteY4" fmla="*/ 0 h 5303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8150" h="5303838">
                <a:moveTo>
                  <a:pt x="0" y="0"/>
                </a:moveTo>
                <a:lnTo>
                  <a:pt x="5518150" y="0"/>
                </a:lnTo>
                <a:lnTo>
                  <a:pt x="3696335" y="5295900"/>
                </a:lnTo>
                <a:lnTo>
                  <a:pt x="0" y="5303838"/>
                </a:lnTo>
                <a:lnTo>
                  <a:pt x="0" y="0"/>
                </a:lnTo>
                <a:close/>
              </a:path>
            </a:pathLst>
          </a:custGeom>
          <a:solidFill>
            <a:schemeClr val="bg2"/>
          </a:solidFill>
        </p:spPr>
        <p:txBody>
          <a:bodyPr lIns="684000" tIns="2556000" anchor="t" anchorCtr="0"/>
          <a:lstStyle>
            <a:lvl1pPr>
              <a:defRPr sz="1200" b="1">
                <a:solidFill>
                  <a:schemeClr val="bg1"/>
                </a:solidFill>
              </a:defRPr>
            </a:lvl1pPr>
          </a:lstStyle>
          <a:p>
            <a:endParaRPr lang="en-US"/>
          </a:p>
        </p:txBody>
      </p:sp>
    </p:spTree>
    <p:extLst>
      <p:ext uri="{BB962C8B-B14F-4D97-AF65-F5344CB8AC3E}">
        <p14:creationId xmlns:p14="http://schemas.microsoft.com/office/powerpoint/2010/main" val="1418954138"/>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ver- no image - client logo">
    <p:spTree>
      <p:nvGrpSpPr>
        <p:cNvPr id="1" name=""/>
        <p:cNvGrpSpPr/>
        <p:nvPr/>
      </p:nvGrpSpPr>
      <p:grpSpPr>
        <a:xfrm>
          <a:off x="0" y="0"/>
          <a:ext cx="0" cy="0"/>
          <a:chOff x="0" y="0"/>
          <a:chExt cx="0" cy="0"/>
        </a:xfrm>
      </p:grpSpPr>
      <p:sp>
        <p:nvSpPr>
          <p:cNvPr id="28" name="Text Placeholder 26"/>
          <p:cNvSpPr>
            <a:spLocks noGrp="1"/>
          </p:cNvSpPr>
          <p:nvPr>
            <p:ph type="body" sz="quarter" idx="11"/>
          </p:nvPr>
        </p:nvSpPr>
        <p:spPr>
          <a:xfrm>
            <a:off x="600077" y="4241800"/>
            <a:ext cx="7964486" cy="313267"/>
          </a:xfrm>
          <a:prstGeom prst="rect">
            <a:avLst/>
          </a:prstGeom>
        </p:spPr>
        <p:txBody>
          <a:bodyPr lIns="0" tIns="0" rIns="0" bIns="0">
            <a:noAutofit/>
          </a:bodyPr>
          <a:lstStyle>
            <a:lvl1pPr>
              <a:spcBef>
                <a:spcPts val="0"/>
              </a:spcBef>
              <a:spcAft>
                <a:spcPts val="0"/>
              </a:spcAft>
              <a:defRPr sz="1000">
                <a:solidFill>
                  <a:schemeClr val="tx1"/>
                </a:solidFill>
              </a:defRPr>
            </a:lvl1pPr>
          </a:lstStyle>
          <a:p>
            <a:pPr lvl="0"/>
            <a:r>
              <a:rPr lang="en-US" dirty="0"/>
              <a:t>Click to edit Master text styles</a:t>
            </a:r>
          </a:p>
        </p:txBody>
      </p:sp>
      <p:sp>
        <p:nvSpPr>
          <p:cNvPr id="29" name="Title 28"/>
          <p:cNvSpPr>
            <a:spLocks noGrp="1"/>
          </p:cNvSpPr>
          <p:nvPr>
            <p:ph type="title"/>
          </p:nvPr>
        </p:nvSpPr>
        <p:spPr>
          <a:xfrm>
            <a:off x="600077" y="1845736"/>
            <a:ext cx="7964486" cy="1439333"/>
          </a:xfrm>
        </p:spPr>
        <p:txBody>
          <a:bodyPr>
            <a:noAutofit/>
          </a:bodyPr>
          <a:lstStyle>
            <a:lvl1pPr>
              <a:lnSpc>
                <a:spcPts val="3600"/>
              </a:lnSpc>
              <a:defRPr sz="3600">
                <a:solidFill>
                  <a:schemeClr val="tx1"/>
                </a:solidFill>
              </a:defRPr>
            </a:lvl1pPr>
          </a:lstStyle>
          <a:p>
            <a:r>
              <a:rPr lang="en-US" dirty="0"/>
              <a:t>Click to edit Master title style</a:t>
            </a:r>
          </a:p>
        </p:txBody>
      </p:sp>
      <p:sp>
        <p:nvSpPr>
          <p:cNvPr id="33" name="Text Placeholder 32"/>
          <p:cNvSpPr>
            <a:spLocks noGrp="1"/>
          </p:cNvSpPr>
          <p:nvPr>
            <p:ph type="body" sz="quarter" idx="12"/>
          </p:nvPr>
        </p:nvSpPr>
        <p:spPr>
          <a:xfrm>
            <a:off x="600077" y="3471336"/>
            <a:ext cx="7964486" cy="601133"/>
          </a:xfrm>
          <a:prstGeom prst="rect">
            <a:avLst/>
          </a:prstGeom>
        </p:spPr>
        <p:txBody>
          <a:bodyPr lIns="0" tIns="0" rIns="0" bIns="0">
            <a:noAutofit/>
          </a:bodyPr>
          <a:lstStyle>
            <a:lvl1pPr>
              <a:lnSpc>
                <a:spcPts val="1700"/>
              </a:lnSpc>
              <a:spcBef>
                <a:spcPts val="0"/>
              </a:spcBef>
              <a:spcAft>
                <a:spcPts val="0"/>
              </a:spcAft>
              <a:defRPr>
                <a:solidFill>
                  <a:schemeClr val="tx1"/>
                </a:solidFill>
              </a:defRPr>
            </a:lvl1pPr>
          </a:lstStyle>
          <a:p>
            <a:pPr lvl="0"/>
            <a:r>
              <a:rPr lang="en-US" dirty="0"/>
              <a:t>Click to edit Master text styles</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0077" y="5055186"/>
            <a:ext cx="1234196" cy="567385"/>
          </a:xfrm>
          <a:prstGeom prst="rect">
            <a:avLst/>
          </a:prstGeom>
        </p:spPr>
      </p:pic>
      <p:sp>
        <p:nvSpPr>
          <p:cNvPr id="12" name="Date Placeholder 3"/>
          <p:cNvSpPr txBox="1">
            <a:spLocks/>
          </p:cNvSpPr>
          <p:nvPr userDrawn="1"/>
        </p:nvSpPr>
        <p:spPr>
          <a:xfrm>
            <a:off x="1063627" y="5976111"/>
            <a:ext cx="1269504" cy="216024"/>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AU" sz="800" dirty="0">
                <a:solidFill>
                  <a:schemeClr val="tx1"/>
                </a:solidFill>
                <a:latin typeface="Segoe UI" panose="020B0502040204020203" pitchFamily="34" charset="0"/>
                <a:ea typeface="Segoe UI" panose="020B0502040204020203" pitchFamily="34" charset="0"/>
                <a:cs typeface="Segoe UI" panose="020B0502040204020203" pitchFamily="34" charset="0"/>
              </a:rPr>
              <a:t>www.</a:t>
            </a:r>
            <a:r>
              <a:rPr lang="en-AU" sz="800" b="1" dirty="0">
                <a:solidFill>
                  <a:schemeClr val="tx1"/>
                </a:solidFill>
                <a:latin typeface="Segoe UI" panose="020B0502040204020203" pitchFamily="34" charset="0"/>
                <a:ea typeface="Segoe UI" panose="020B0502040204020203" pitchFamily="34" charset="0"/>
                <a:cs typeface="Segoe UI" panose="020B0502040204020203" pitchFamily="34" charset="0"/>
              </a:rPr>
              <a:t>advisian</a:t>
            </a:r>
            <a:r>
              <a:rPr lang="en-AU" sz="800" dirty="0">
                <a:solidFill>
                  <a:schemeClr val="tx1"/>
                </a:solidFill>
                <a:latin typeface="Segoe UI" panose="020B0502040204020203" pitchFamily="34" charset="0"/>
                <a:ea typeface="Segoe UI" panose="020B0502040204020203" pitchFamily="34" charset="0"/>
                <a:cs typeface="Segoe UI" panose="020B0502040204020203" pitchFamily="34" charset="0"/>
              </a:rPr>
              <a:t>.com</a:t>
            </a:r>
          </a:p>
        </p:txBody>
      </p:sp>
      <p:sp>
        <p:nvSpPr>
          <p:cNvPr id="8" name="Parallelogram 7"/>
          <p:cNvSpPr/>
          <p:nvPr userDrawn="1"/>
        </p:nvSpPr>
        <p:spPr>
          <a:xfrm>
            <a:off x="593726" y="1364894"/>
            <a:ext cx="720000" cy="60959"/>
          </a:xfrm>
          <a:prstGeom prst="parallelogram">
            <a:avLst>
              <a:gd name="adj" fmla="val 37993"/>
            </a:avLst>
          </a:pr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3" name="Picture Placeholder 2"/>
          <p:cNvSpPr>
            <a:spLocks noGrp="1"/>
          </p:cNvSpPr>
          <p:nvPr>
            <p:ph type="pic" sz="quarter" idx="13"/>
          </p:nvPr>
        </p:nvSpPr>
        <p:spPr>
          <a:xfrm>
            <a:off x="7351395" y="5054601"/>
            <a:ext cx="1233488" cy="567267"/>
          </a:xfrm>
          <a:prstGeom prst="rect">
            <a:avLst/>
          </a:prstGeom>
        </p:spPr>
        <p:txBody>
          <a:bodyPr/>
          <a:lstStyle>
            <a:lvl1pPr algn="ctr">
              <a:defRPr sz="800" b="1"/>
            </a:lvl1pPr>
          </a:lstStyle>
          <a:p>
            <a:endParaRPr lang="en-US"/>
          </a:p>
        </p:txBody>
      </p:sp>
    </p:spTree>
    <p:extLst>
      <p:ext uri="{BB962C8B-B14F-4D97-AF65-F5344CB8AC3E}">
        <p14:creationId xmlns:p14="http://schemas.microsoft.com/office/powerpoint/2010/main" val="374480889"/>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3 Body with image white">
    <p:bg>
      <p:bgPr>
        <a:solidFill>
          <a:schemeClr val="bg1"/>
        </a:solidFill>
        <a:effectLst/>
      </p:bgPr>
    </p:bg>
    <p:spTree>
      <p:nvGrpSpPr>
        <p:cNvPr id="1" name=""/>
        <p:cNvGrpSpPr/>
        <p:nvPr/>
      </p:nvGrpSpPr>
      <p:grpSpPr>
        <a:xfrm>
          <a:off x="0" y="0"/>
          <a:ext cx="0" cy="0"/>
          <a:chOff x="0" y="0"/>
          <a:chExt cx="0" cy="0"/>
        </a:xfrm>
      </p:grpSpPr>
      <p:sp>
        <p:nvSpPr>
          <p:cNvPr id="5" name="Parallelogram 4"/>
          <p:cNvSpPr/>
          <p:nvPr userDrawn="1"/>
        </p:nvSpPr>
        <p:spPr>
          <a:xfrm>
            <a:off x="3260725" y="1364891"/>
            <a:ext cx="720000" cy="60959"/>
          </a:xfrm>
          <a:prstGeom prst="parallelogram">
            <a:avLst>
              <a:gd name="adj" fmla="val 3799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Text Placeholder 2"/>
          <p:cNvSpPr>
            <a:spLocks noGrp="1"/>
          </p:cNvSpPr>
          <p:nvPr>
            <p:ph type="body" sz="quarter" idx="11"/>
          </p:nvPr>
        </p:nvSpPr>
        <p:spPr>
          <a:xfrm>
            <a:off x="3260725" y="1828800"/>
            <a:ext cx="5287962" cy="456035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260725" y="398977"/>
            <a:ext cx="5297488" cy="800867"/>
          </a:xfrm>
        </p:spPr>
        <p:txBody>
          <a:bodyPr/>
          <a:lstStyle/>
          <a:p>
            <a:r>
              <a:rPr lang="en-US" dirty="0"/>
              <a:t>Click to edit Master title style</a:t>
            </a:r>
          </a:p>
        </p:txBody>
      </p:sp>
      <p:sp>
        <p:nvSpPr>
          <p:cNvPr id="6" name="Picture Placeholder 5"/>
          <p:cNvSpPr>
            <a:spLocks noGrp="1"/>
          </p:cNvSpPr>
          <p:nvPr>
            <p:ph type="pic" sz="quarter" idx="12"/>
          </p:nvPr>
        </p:nvSpPr>
        <p:spPr>
          <a:xfrm>
            <a:off x="-63500" y="-38101"/>
            <a:ext cx="3441700" cy="6940692"/>
          </a:xfrm>
          <a:custGeom>
            <a:avLst/>
            <a:gdLst>
              <a:gd name="connsiteX0" fmla="*/ 0 w 3441700"/>
              <a:gd name="connsiteY0" fmla="*/ 0 h 6940692"/>
              <a:gd name="connsiteX1" fmla="*/ 3441700 w 3441700"/>
              <a:gd name="connsiteY1" fmla="*/ 0 h 6940692"/>
              <a:gd name="connsiteX2" fmla="*/ 3441700 w 3441700"/>
              <a:gd name="connsiteY2" fmla="*/ 6940692 h 6940692"/>
              <a:gd name="connsiteX3" fmla="*/ 0 w 3441700"/>
              <a:gd name="connsiteY3" fmla="*/ 6940692 h 6940692"/>
              <a:gd name="connsiteX4" fmla="*/ 0 w 3441700"/>
              <a:gd name="connsiteY4" fmla="*/ 0 h 6940692"/>
              <a:gd name="connsiteX0" fmla="*/ 0 w 3441700"/>
              <a:gd name="connsiteY0" fmla="*/ 6349 h 6947041"/>
              <a:gd name="connsiteX1" fmla="*/ 831850 w 3441700"/>
              <a:gd name="connsiteY1" fmla="*/ 0 h 6947041"/>
              <a:gd name="connsiteX2" fmla="*/ 3441700 w 3441700"/>
              <a:gd name="connsiteY2" fmla="*/ 6349 h 6947041"/>
              <a:gd name="connsiteX3" fmla="*/ 3441700 w 3441700"/>
              <a:gd name="connsiteY3" fmla="*/ 6947041 h 6947041"/>
              <a:gd name="connsiteX4" fmla="*/ 0 w 3441700"/>
              <a:gd name="connsiteY4" fmla="*/ 6947041 h 6947041"/>
              <a:gd name="connsiteX5" fmla="*/ 0 w 3441700"/>
              <a:gd name="connsiteY5" fmla="*/ 6349 h 6947041"/>
              <a:gd name="connsiteX0" fmla="*/ 0 w 3441700"/>
              <a:gd name="connsiteY0" fmla="*/ 6349 h 6947041"/>
              <a:gd name="connsiteX1" fmla="*/ 831850 w 3441700"/>
              <a:gd name="connsiteY1" fmla="*/ 0 h 6947041"/>
              <a:gd name="connsiteX2" fmla="*/ 3441700 w 3441700"/>
              <a:gd name="connsiteY2" fmla="*/ 6947041 h 6947041"/>
              <a:gd name="connsiteX3" fmla="*/ 0 w 3441700"/>
              <a:gd name="connsiteY3" fmla="*/ 6947041 h 6947041"/>
              <a:gd name="connsiteX4" fmla="*/ 0 w 3441700"/>
              <a:gd name="connsiteY4" fmla="*/ 6349 h 6947041"/>
              <a:gd name="connsiteX0" fmla="*/ 0 w 3441700"/>
              <a:gd name="connsiteY0" fmla="*/ 6349 h 6947041"/>
              <a:gd name="connsiteX1" fmla="*/ 806450 w 3441700"/>
              <a:gd name="connsiteY1" fmla="*/ 0 h 6947041"/>
              <a:gd name="connsiteX2" fmla="*/ 3441700 w 3441700"/>
              <a:gd name="connsiteY2" fmla="*/ 6947041 h 6947041"/>
              <a:gd name="connsiteX3" fmla="*/ 0 w 3441700"/>
              <a:gd name="connsiteY3" fmla="*/ 6947041 h 6947041"/>
              <a:gd name="connsiteX4" fmla="*/ 0 w 3441700"/>
              <a:gd name="connsiteY4" fmla="*/ 6349 h 6947041"/>
              <a:gd name="connsiteX0" fmla="*/ 0 w 3441700"/>
              <a:gd name="connsiteY0" fmla="*/ 0 h 6940692"/>
              <a:gd name="connsiteX1" fmla="*/ 819150 w 3441700"/>
              <a:gd name="connsiteY1" fmla="*/ 1 h 6940692"/>
              <a:gd name="connsiteX2" fmla="*/ 3441700 w 3441700"/>
              <a:gd name="connsiteY2" fmla="*/ 6940692 h 6940692"/>
              <a:gd name="connsiteX3" fmla="*/ 0 w 3441700"/>
              <a:gd name="connsiteY3" fmla="*/ 6940692 h 6940692"/>
              <a:gd name="connsiteX4" fmla="*/ 0 w 3441700"/>
              <a:gd name="connsiteY4" fmla="*/ 0 h 6940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1700" h="6940692">
                <a:moveTo>
                  <a:pt x="0" y="0"/>
                </a:moveTo>
                <a:lnTo>
                  <a:pt x="819150" y="1"/>
                </a:lnTo>
                <a:lnTo>
                  <a:pt x="3441700" y="6940692"/>
                </a:lnTo>
                <a:lnTo>
                  <a:pt x="0" y="6940692"/>
                </a:lnTo>
                <a:lnTo>
                  <a:pt x="0" y="0"/>
                </a:lnTo>
                <a:close/>
              </a:path>
            </a:pathLst>
          </a:custGeom>
          <a:solidFill>
            <a:schemeClr val="bg1">
              <a:lumMod val="65000"/>
            </a:schemeClr>
          </a:solidFill>
        </p:spPr>
        <p:txBody>
          <a:bodyPr lIns="216000" tIns="3060000"/>
          <a:lstStyle>
            <a:lvl1pPr>
              <a:defRPr sz="1400" b="1">
                <a:solidFill>
                  <a:schemeClr val="bg1"/>
                </a:solidFill>
              </a:defRPr>
            </a:lvl1pPr>
          </a:lstStyle>
          <a:p>
            <a:endParaRPr lang="en-US"/>
          </a:p>
        </p:txBody>
      </p:sp>
    </p:spTree>
    <p:extLst>
      <p:ext uri="{BB962C8B-B14F-4D97-AF65-F5344CB8AC3E}">
        <p14:creationId xmlns:p14="http://schemas.microsoft.com/office/powerpoint/2010/main" val="740442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ody - 1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p>
        </p:txBody>
      </p:sp>
      <p:sp>
        <p:nvSpPr>
          <p:cNvPr id="5" name="Content Placeholder 4"/>
          <p:cNvSpPr>
            <a:spLocks noGrp="1"/>
          </p:cNvSpPr>
          <p:nvPr>
            <p:ph sz="quarter" idx="10"/>
          </p:nvPr>
        </p:nvSpPr>
        <p:spPr>
          <a:xfrm>
            <a:off x="601663" y="1828800"/>
            <a:ext cx="7945200" cy="4673600"/>
          </a:xfrm>
          <a:prstGeom prst="rect">
            <a:avLst/>
          </a:prstGeom>
        </p:spPr>
        <p:txBody>
          <a:bodyPr lIns="0" tIns="0" rIns="0" bIns="0">
            <a:noAutofit/>
          </a:bodyPr>
          <a:lstStyle>
            <a:lvl3pPr marL="715963" indent="-357188">
              <a:buFont typeface="Segoe UI" panose="020B0502040204020203" pitchFamily="34" charset="0"/>
              <a:buChar char="̵"/>
              <a:defRPr/>
            </a:lvl3pPr>
            <a:lvl5pPr marL="1431925" indent="-357188">
              <a:buFont typeface="Segoe UI" panose="020B0502040204020203"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83992915"/>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ody - 2 column">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600083" y="1828804"/>
            <a:ext cx="3857623" cy="4648201"/>
          </a:xfrm>
          <a:prstGeom prst="rect">
            <a:avLst/>
          </a:prstGeom>
        </p:spPr>
        <p:txBody>
          <a:bodyPr lIns="0" tIns="0" rIns="0" bIns="0">
            <a:noAutofit/>
          </a:bodyPr>
          <a:lstStyle>
            <a:lvl1pPr>
              <a:defRPr sz="1600" b="0">
                <a:latin typeface="+mn-lt"/>
              </a:defRPr>
            </a:lvl1pPr>
            <a:lvl2pPr>
              <a:defRPr sz="1600" b="0">
                <a:latin typeface="+mn-lt"/>
              </a:defRPr>
            </a:lvl2pPr>
            <a:lvl3pPr marL="715963" indent="-357188">
              <a:buFont typeface="Segoe UI" panose="020B0502040204020203" pitchFamily="34" charset="0"/>
              <a:buChar char="̵"/>
              <a:defRPr sz="1600" b="0">
                <a:latin typeface="+mn-lt"/>
              </a:defRPr>
            </a:lvl3pPr>
            <a:lvl4pPr>
              <a:defRPr sz="1600" b="0">
                <a:latin typeface="+mn-lt"/>
              </a:defRPr>
            </a:lvl4pPr>
            <a:lvl5pPr marL="1431925" indent="-357188">
              <a:buFont typeface="Segoe UI" panose="020B0502040204020203" pitchFamily="34" charset="0"/>
              <a:buChar char="̵"/>
              <a:defRPr sz="1600"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6"/>
          <p:cNvSpPr>
            <a:spLocks noGrp="1"/>
          </p:cNvSpPr>
          <p:nvPr>
            <p:ph sz="quarter" idx="12"/>
          </p:nvPr>
        </p:nvSpPr>
        <p:spPr>
          <a:xfrm>
            <a:off x="4689482" y="1828804"/>
            <a:ext cx="3857623" cy="4648201"/>
          </a:xfrm>
          <a:prstGeom prst="rect">
            <a:avLst/>
          </a:prstGeom>
        </p:spPr>
        <p:txBody>
          <a:bodyPr lIns="0" tIns="0" rIns="0" bIns="0">
            <a:noAutofit/>
          </a:bodyPr>
          <a:lstStyle>
            <a:lvl1pPr>
              <a:defRPr sz="1600" b="0">
                <a:latin typeface="+mn-lt"/>
              </a:defRPr>
            </a:lvl1pPr>
            <a:lvl2pPr>
              <a:defRPr sz="1600" b="0">
                <a:latin typeface="+mn-lt"/>
              </a:defRPr>
            </a:lvl2pPr>
            <a:lvl3pPr marL="715963" indent="-357188">
              <a:buFont typeface="Segoe UI" panose="020B0502040204020203" pitchFamily="34" charset="0"/>
              <a:buChar char="̵"/>
              <a:defRPr sz="1600" b="0">
                <a:latin typeface="+mn-lt"/>
              </a:defRPr>
            </a:lvl3pPr>
            <a:lvl4pPr>
              <a:defRPr sz="1600" b="0">
                <a:latin typeface="+mn-lt"/>
              </a:defRPr>
            </a:lvl4pPr>
            <a:lvl5pPr marL="1431925" indent="-357188">
              <a:buFont typeface="Segoe UI" panose="020B0502040204020203" pitchFamily="34" charset="0"/>
              <a:buChar char="̵"/>
              <a:defRPr sz="1600"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noAutofit/>
          </a:bodyPr>
          <a:lstStyle/>
          <a:p>
            <a:r>
              <a:rPr lang="en-US"/>
              <a:t>Click to edit Master title style</a:t>
            </a:r>
          </a:p>
        </p:txBody>
      </p:sp>
    </p:spTree>
    <p:extLst>
      <p:ext uri="{BB962C8B-B14F-4D97-AF65-F5344CB8AC3E}">
        <p14:creationId xmlns:p14="http://schemas.microsoft.com/office/powerpoint/2010/main" val="4422166"/>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ody - 3 column">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600077" y="1841500"/>
            <a:ext cx="2486024" cy="4635501"/>
          </a:xfrm>
          <a:prstGeom prst="rect">
            <a:avLst/>
          </a:prstGeom>
        </p:spPr>
        <p:txBody>
          <a:bodyPr lIns="0" tIns="0" rIns="0" bIns="0" numCol="1">
            <a:noAutofit/>
          </a:bodyPr>
          <a:lstStyle>
            <a:lvl1pPr>
              <a:defRPr sz="1600" b="0">
                <a:latin typeface="+mn-lt"/>
              </a:defRPr>
            </a:lvl1pPr>
            <a:lvl2pPr>
              <a:defRPr sz="1600" b="0">
                <a:latin typeface="+mn-lt"/>
              </a:defRPr>
            </a:lvl2pPr>
            <a:lvl3pPr marL="715963" indent="-357188">
              <a:buFont typeface="Segoe UI" panose="020B0502040204020203" pitchFamily="34" charset="0"/>
              <a:buChar char="̵"/>
              <a:defRPr sz="1600" b="0">
                <a:latin typeface="+mn-lt"/>
              </a:defRPr>
            </a:lvl3pPr>
            <a:lvl4pPr>
              <a:defRPr sz="1600" b="0">
                <a:latin typeface="+mn-lt"/>
              </a:defRPr>
            </a:lvl4pPr>
            <a:lvl5pPr marL="1431925" indent="-357188">
              <a:buFont typeface="Segoe UI" panose="020B0502040204020203" pitchFamily="34" charset="0"/>
              <a:buChar char="̵"/>
              <a:defRPr sz="1600"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6"/>
          <p:cNvSpPr>
            <a:spLocks noGrp="1"/>
          </p:cNvSpPr>
          <p:nvPr>
            <p:ph sz="quarter" idx="12"/>
          </p:nvPr>
        </p:nvSpPr>
        <p:spPr>
          <a:xfrm>
            <a:off x="3336927" y="1841500"/>
            <a:ext cx="2486024" cy="4635501"/>
          </a:xfrm>
          <a:prstGeom prst="rect">
            <a:avLst/>
          </a:prstGeom>
        </p:spPr>
        <p:txBody>
          <a:bodyPr lIns="0" tIns="0" rIns="0" bIns="0" numCol="1">
            <a:noAutofit/>
          </a:bodyPr>
          <a:lstStyle>
            <a:lvl1pPr>
              <a:defRPr sz="1600" b="0">
                <a:latin typeface="+mn-lt"/>
              </a:defRPr>
            </a:lvl1pPr>
            <a:lvl2pPr>
              <a:defRPr sz="1600" b="0">
                <a:latin typeface="+mn-lt"/>
              </a:defRPr>
            </a:lvl2pPr>
            <a:lvl3pPr marL="715963" indent="-357188">
              <a:buFont typeface="Segoe UI" panose="020B0502040204020203" pitchFamily="34" charset="0"/>
              <a:buChar char="̵"/>
              <a:defRPr sz="1600" b="0">
                <a:latin typeface="+mn-lt"/>
              </a:defRPr>
            </a:lvl3pPr>
            <a:lvl4pPr>
              <a:defRPr sz="1600" b="0">
                <a:latin typeface="+mn-lt"/>
              </a:defRPr>
            </a:lvl4pPr>
            <a:lvl5pPr marL="1431925" indent="-357188">
              <a:buFont typeface="Segoe UI" panose="020B0502040204020203" pitchFamily="34" charset="0"/>
              <a:buChar char="̵"/>
              <a:defRPr sz="1600"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6"/>
          <p:cNvSpPr>
            <a:spLocks noGrp="1"/>
          </p:cNvSpPr>
          <p:nvPr>
            <p:ph sz="quarter" idx="13"/>
          </p:nvPr>
        </p:nvSpPr>
        <p:spPr>
          <a:xfrm>
            <a:off x="6067427" y="1841500"/>
            <a:ext cx="2490786" cy="4635501"/>
          </a:xfrm>
          <a:prstGeom prst="rect">
            <a:avLst/>
          </a:prstGeom>
        </p:spPr>
        <p:txBody>
          <a:bodyPr lIns="0" tIns="0" rIns="0" bIns="0" numCol="1">
            <a:noAutofit/>
          </a:bodyPr>
          <a:lstStyle>
            <a:lvl1pPr>
              <a:defRPr sz="1600" b="0">
                <a:latin typeface="+mn-lt"/>
              </a:defRPr>
            </a:lvl1pPr>
            <a:lvl2pPr>
              <a:defRPr sz="1600" b="0">
                <a:latin typeface="+mn-lt"/>
              </a:defRPr>
            </a:lvl2pPr>
            <a:lvl3pPr marL="715963" indent="-357188">
              <a:buFont typeface="Segoe UI" panose="020B0502040204020203" pitchFamily="34" charset="0"/>
              <a:buChar char="̵"/>
              <a:defRPr sz="1600" b="0">
                <a:latin typeface="+mn-lt"/>
              </a:defRPr>
            </a:lvl3pPr>
            <a:lvl4pPr>
              <a:defRPr sz="1600" b="0">
                <a:latin typeface="+mn-lt"/>
              </a:defRPr>
            </a:lvl4pPr>
            <a:lvl5pPr marL="1431925" indent="-357188">
              <a:buFont typeface="Segoe UI" panose="020B0502040204020203" pitchFamily="34" charset="0"/>
              <a:buChar char="̵"/>
              <a:defRPr sz="1600" b="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noAutofit/>
          </a:bodyPr>
          <a:lstStyle/>
          <a:p>
            <a:r>
              <a:rPr lang="en-US"/>
              <a:t>Click to edit Master title style</a:t>
            </a:r>
          </a:p>
        </p:txBody>
      </p:sp>
    </p:spTree>
    <p:extLst>
      <p:ext uri="{BB962C8B-B14F-4D97-AF65-F5344CB8AC3E}">
        <p14:creationId xmlns:p14="http://schemas.microsoft.com/office/powerpoint/2010/main" val="2868478488"/>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ody with image light">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594683" y="2061633"/>
            <a:ext cx="3489325" cy="3903133"/>
          </a:xfrm>
          <a:prstGeom prst="rect">
            <a:avLst/>
          </a:prstGeom>
        </p:spPr>
        <p:txBody>
          <a:bodyPr lIns="0" tIns="0" rIns="0" bIns="0"/>
          <a:lstStyle>
            <a:lvl3pPr marL="715963" indent="-357188">
              <a:buFont typeface="Segoe UI" panose="020B0502040204020203" pitchFamily="34" charset="0"/>
              <a:buChar char="̵"/>
              <a:defRPr/>
            </a:lvl3pPr>
            <a:lvl5pPr marL="1431925" indent="-357188">
              <a:buFont typeface="Segoe UI" panose="020B0502040204020203" pitchFamily="34" charset="0"/>
              <a:buChar char="̵"/>
              <a:defRPr/>
            </a:lvl5pPr>
          </a:lstStyle>
          <a:p>
            <a:pPr lvl="0"/>
            <a:r>
              <a:rPr lang="en-US" dirty="0"/>
              <a:t>Click to edit Master text styles</a:t>
            </a:r>
          </a:p>
        </p:txBody>
      </p:sp>
      <p:sp>
        <p:nvSpPr>
          <p:cNvPr id="7" name="Picture Placeholder 6"/>
          <p:cNvSpPr>
            <a:spLocks noGrp="1"/>
          </p:cNvSpPr>
          <p:nvPr>
            <p:ph type="pic" sz="quarter" idx="11"/>
          </p:nvPr>
        </p:nvSpPr>
        <p:spPr>
          <a:xfrm>
            <a:off x="3604260" y="-90593"/>
            <a:ext cx="5593080" cy="7008000"/>
          </a:xfrm>
          <a:custGeom>
            <a:avLst/>
            <a:gdLst>
              <a:gd name="connsiteX0" fmla="*/ 0 w 5593080"/>
              <a:gd name="connsiteY0" fmla="*/ 0 h 5256000"/>
              <a:gd name="connsiteX1" fmla="*/ 5593080 w 5593080"/>
              <a:gd name="connsiteY1" fmla="*/ 0 h 5256000"/>
              <a:gd name="connsiteX2" fmla="*/ 5593080 w 5593080"/>
              <a:gd name="connsiteY2" fmla="*/ 5256000 h 5256000"/>
              <a:gd name="connsiteX3" fmla="*/ 0 w 5593080"/>
              <a:gd name="connsiteY3" fmla="*/ 5256000 h 5256000"/>
              <a:gd name="connsiteX4" fmla="*/ 0 w 5593080"/>
              <a:gd name="connsiteY4" fmla="*/ 0 h 5256000"/>
              <a:gd name="connsiteX0" fmla="*/ 0 w 5593080"/>
              <a:gd name="connsiteY0" fmla="*/ 0 h 5256000"/>
              <a:gd name="connsiteX1" fmla="*/ 5593080 w 5593080"/>
              <a:gd name="connsiteY1" fmla="*/ 0 h 5256000"/>
              <a:gd name="connsiteX2" fmla="*/ 5593080 w 5593080"/>
              <a:gd name="connsiteY2" fmla="*/ 5256000 h 5256000"/>
              <a:gd name="connsiteX3" fmla="*/ 1988820 w 5593080"/>
              <a:gd name="connsiteY3" fmla="*/ 5249545 h 5256000"/>
              <a:gd name="connsiteX4" fmla="*/ 0 w 5593080"/>
              <a:gd name="connsiteY4" fmla="*/ 5256000 h 5256000"/>
              <a:gd name="connsiteX5" fmla="*/ 0 w 5593080"/>
              <a:gd name="connsiteY5" fmla="*/ 0 h 5256000"/>
              <a:gd name="connsiteX0" fmla="*/ 0 w 5593080"/>
              <a:gd name="connsiteY0" fmla="*/ 0 h 5256000"/>
              <a:gd name="connsiteX1" fmla="*/ 5593080 w 5593080"/>
              <a:gd name="connsiteY1" fmla="*/ 0 h 5256000"/>
              <a:gd name="connsiteX2" fmla="*/ 5593080 w 5593080"/>
              <a:gd name="connsiteY2" fmla="*/ 5256000 h 5256000"/>
              <a:gd name="connsiteX3" fmla="*/ 1988820 w 5593080"/>
              <a:gd name="connsiteY3" fmla="*/ 5249545 h 5256000"/>
              <a:gd name="connsiteX4" fmla="*/ 0 w 5593080"/>
              <a:gd name="connsiteY4" fmla="*/ 0 h 525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3080" h="5256000">
                <a:moveTo>
                  <a:pt x="0" y="0"/>
                </a:moveTo>
                <a:lnTo>
                  <a:pt x="5593080" y="0"/>
                </a:lnTo>
                <a:lnTo>
                  <a:pt x="5593080" y="5256000"/>
                </a:lnTo>
                <a:lnTo>
                  <a:pt x="1988820" y="5249545"/>
                </a:lnTo>
                <a:lnTo>
                  <a:pt x="0" y="0"/>
                </a:lnTo>
                <a:close/>
              </a:path>
            </a:pathLst>
          </a:custGeom>
        </p:spPr>
        <p:txBody>
          <a:bodyPr lIns="2664000" tIns="2196000"/>
          <a:lstStyle>
            <a:lvl1pPr>
              <a:defRPr sz="1400" b="1"/>
            </a:lvl1pPr>
          </a:lstStyle>
          <a:p>
            <a:endParaRPr lang="en-US"/>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2878382"/>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Full page image with headin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144000" cy="6858000"/>
          </a:xfrm>
          <a:prstGeom prst="rect">
            <a:avLst/>
          </a:prstGeom>
        </p:spPr>
        <p:txBody>
          <a:bodyPr lIns="0" tIns="2160000"/>
          <a:lstStyle>
            <a:lvl1pPr algn="ctr">
              <a:defRPr sz="1400" b="1"/>
            </a:lvl1pPr>
          </a:lstStyle>
          <a:p>
            <a:endParaRPr lang="en-US"/>
          </a:p>
        </p:txBody>
      </p:sp>
      <p:sp>
        <p:nvSpPr>
          <p:cNvPr id="2" name="Title 1"/>
          <p:cNvSpPr>
            <a:spLocks noGrp="1"/>
          </p:cNvSpPr>
          <p:nvPr>
            <p:ph type="title"/>
          </p:nvPr>
        </p:nvSpPr>
        <p:spPr>
          <a:xfrm>
            <a:off x="4023360" y="4130042"/>
            <a:ext cx="4442460" cy="1790700"/>
          </a:xfrm>
        </p:spPr>
        <p:txBody>
          <a:bodyPr>
            <a:noAutofit/>
          </a:bodyPr>
          <a:lstStyle/>
          <a:p>
            <a:r>
              <a:rPr lang="en-US" dirty="0"/>
              <a:t>Click to edit Master title style</a:t>
            </a:r>
          </a:p>
        </p:txBody>
      </p:sp>
    </p:spTree>
    <p:extLst>
      <p:ext uri="{BB962C8B-B14F-4D97-AF65-F5344CB8AC3E}">
        <p14:creationId xmlns:p14="http://schemas.microsoft.com/office/powerpoint/2010/main" val="954694745"/>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1768706"/>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over no image dark">
    <p:spTree>
      <p:nvGrpSpPr>
        <p:cNvPr id="1" name=""/>
        <p:cNvGrpSpPr/>
        <p:nvPr/>
      </p:nvGrpSpPr>
      <p:grpSpPr>
        <a:xfrm>
          <a:off x="0" y="0"/>
          <a:ext cx="0" cy="0"/>
          <a:chOff x="0" y="0"/>
          <a:chExt cx="0" cy="0"/>
        </a:xfrm>
      </p:grpSpPr>
      <p:sp>
        <p:nvSpPr>
          <p:cNvPr id="28" name="Text Placeholder 26"/>
          <p:cNvSpPr>
            <a:spLocks noGrp="1"/>
          </p:cNvSpPr>
          <p:nvPr>
            <p:ph type="body" sz="quarter" idx="11"/>
          </p:nvPr>
        </p:nvSpPr>
        <p:spPr>
          <a:xfrm>
            <a:off x="600077" y="4241800"/>
            <a:ext cx="7964486" cy="313267"/>
          </a:xfrm>
          <a:prstGeom prst="rect">
            <a:avLst/>
          </a:prstGeom>
        </p:spPr>
        <p:txBody>
          <a:bodyPr lIns="0" tIns="0" rIns="0" bIns="0">
            <a:noAutofit/>
          </a:bodyPr>
          <a:lstStyle>
            <a:lvl1pPr>
              <a:spcBef>
                <a:spcPts val="0"/>
              </a:spcBef>
              <a:spcAft>
                <a:spcPts val="0"/>
              </a:spcAft>
              <a:defRPr sz="1000">
                <a:solidFill>
                  <a:schemeClr val="bg1"/>
                </a:solidFill>
              </a:defRPr>
            </a:lvl1pPr>
          </a:lstStyle>
          <a:p>
            <a:pPr lvl="0"/>
            <a:r>
              <a:rPr lang="en-US" dirty="0"/>
              <a:t>Click to edit Master text styles</a:t>
            </a:r>
          </a:p>
        </p:txBody>
      </p:sp>
      <p:sp>
        <p:nvSpPr>
          <p:cNvPr id="29" name="Title 28"/>
          <p:cNvSpPr>
            <a:spLocks noGrp="1"/>
          </p:cNvSpPr>
          <p:nvPr>
            <p:ph type="title"/>
          </p:nvPr>
        </p:nvSpPr>
        <p:spPr>
          <a:xfrm>
            <a:off x="600077" y="1845736"/>
            <a:ext cx="7964486" cy="1439333"/>
          </a:xfrm>
        </p:spPr>
        <p:txBody>
          <a:bodyPr>
            <a:normAutofit/>
          </a:bodyPr>
          <a:lstStyle>
            <a:lvl1pPr>
              <a:lnSpc>
                <a:spcPts val="3600"/>
              </a:lnSpc>
              <a:defRPr sz="3600">
                <a:solidFill>
                  <a:schemeClr val="bg1"/>
                </a:solidFill>
              </a:defRPr>
            </a:lvl1pPr>
          </a:lstStyle>
          <a:p>
            <a:r>
              <a:rPr lang="en-US" dirty="0"/>
              <a:t>Click to edit Master title style</a:t>
            </a:r>
          </a:p>
        </p:txBody>
      </p:sp>
      <p:sp>
        <p:nvSpPr>
          <p:cNvPr id="33" name="Text Placeholder 32"/>
          <p:cNvSpPr>
            <a:spLocks noGrp="1"/>
          </p:cNvSpPr>
          <p:nvPr>
            <p:ph type="body" sz="quarter" idx="12"/>
          </p:nvPr>
        </p:nvSpPr>
        <p:spPr>
          <a:xfrm>
            <a:off x="600077" y="3471336"/>
            <a:ext cx="7964486" cy="601133"/>
          </a:xfrm>
          <a:prstGeom prst="rect">
            <a:avLst/>
          </a:prstGeom>
        </p:spPr>
        <p:txBody>
          <a:bodyPr lIns="0" tIns="0" rIns="0" bIns="0"/>
          <a:lstStyle>
            <a:lvl1pPr>
              <a:lnSpc>
                <a:spcPts val="1700"/>
              </a:lnSpc>
              <a:spcBef>
                <a:spcPts val="0"/>
              </a:spcBef>
              <a:spcAft>
                <a:spcPts val="0"/>
              </a:spcAft>
              <a:defRPr>
                <a:solidFill>
                  <a:schemeClr val="bg1"/>
                </a:solidFill>
              </a:defRPr>
            </a:lvl1pPr>
          </a:lstStyle>
          <a:p>
            <a:pPr lvl="0"/>
            <a:r>
              <a:rPr lang="en-US" dirty="0"/>
              <a:t>Click to edit Master text styles</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0077" y="5469702"/>
            <a:ext cx="1234196" cy="567385"/>
          </a:xfrm>
          <a:prstGeom prst="rect">
            <a:avLst/>
          </a:prstGeom>
        </p:spPr>
      </p:pic>
      <p:sp>
        <p:nvSpPr>
          <p:cNvPr id="12" name="Date Placeholder 3"/>
          <p:cNvSpPr txBox="1">
            <a:spLocks/>
          </p:cNvSpPr>
          <p:nvPr userDrawn="1"/>
        </p:nvSpPr>
        <p:spPr>
          <a:xfrm>
            <a:off x="7273927" y="5868099"/>
            <a:ext cx="1269504" cy="216024"/>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AU" sz="1000" dirty="0">
                <a:solidFill>
                  <a:schemeClr val="bg1"/>
                </a:solidFill>
                <a:latin typeface="Segoe UI" panose="020B0502040204020203" pitchFamily="34" charset="0"/>
                <a:ea typeface="Segoe UI" panose="020B0502040204020203" pitchFamily="34" charset="0"/>
                <a:cs typeface="Segoe UI" panose="020B0502040204020203" pitchFamily="34" charset="0"/>
              </a:rPr>
              <a:t>www.</a:t>
            </a:r>
            <a:r>
              <a:rPr lang="en-AU" sz="1000" b="1" dirty="0">
                <a:solidFill>
                  <a:schemeClr val="bg1"/>
                </a:solidFill>
                <a:latin typeface="Segoe UI" panose="020B0502040204020203" pitchFamily="34" charset="0"/>
                <a:ea typeface="Segoe UI" panose="020B0502040204020203" pitchFamily="34" charset="0"/>
                <a:cs typeface="Segoe UI" panose="020B0502040204020203" pitchFamily="34" charset="0"/>
              </a:rPr>
              <a:t>advisian</a:t>
            </a:r>
            <a:r>
              <a:rPr lang="en-AU" sz="1000" dirty="0">
                <a:solidFill>
                  <a:schemeClr val="bg1"/>
                </a:solidFill>
                <a:latin typeface="Segoe UI" panose="020B0502040204020203" pitchFamily="34" charset="0"/>
                <a:ea typeface="Segoe UI" panose="020B0502040204020203" pitchFamily="34" charset="0"/>
                <a:cs typeface="Segoe UI" panose="020B0502040204020203" pitchFamily="34" charset="0"/>
              </a:rPr>
              <a:t>.com</a:t>
            </a:r>
          </a:p>
        </p:txBody>
      </p:sp>
      <p:sp>
        <p:nvSpPr>
          <p:cNvPr id="8" name="Parallelogram 7"/>
          <p:cNvSpPr/>
          <p:nvPr userDrawn="1"/>
        </p:nvSpPr>
        <p:spPr>
          <a:xfrm>
            <a:off x="593726" y="1364894"/>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Tree>
    <p:extLst>
      <p:ext uri="{BB962C8B-B14F-4D97-AF65-F5344CB8AC3E}">
        <p14:creationId xmlns:p14="http://schemas.microsoft.com/office/powerpoint/2010/main" val="4056916863"/>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ody - 1 column dark">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solidFill>
                  <a:schemeClr val="bg1"/>
                </a:solidFill>
              </a:defRPr>
            </a:lvl1pPr>
          </a:lstStyle>
          <a:p>
            <a:r>
              <a:rPr lang="en-US"/>
              <a:t>Click to edit Master title style</a:t>
            </a:r>
          </a:p>
        </p:txBody>
      </p:sp>
      <p:sp>
        <p:nvSpPr>
          <p:cNvPr id="5" name="Content Placeholder 4"/>
          <p:cNvSpPr>
            <a:spLocks noGrp="1"/>
          </p:cNvSpPr>
          <p:nvPr>
            <p:ph sz="quarter" idx="10"/>
          </p:nvPr>
        </p:nvSpPr>
        <p:spPr>
          <a:xfrm>
            <a:off x="601663" y="1828800"/>
            <a:ext cx="7945200" cy="4673600"/>
          </a:xfrm>
          <a:prstGeom prst="rect">
            <a:avLst/>
          </a:prstGeom>
        </p:spPr>
        <p:txBody>
          <a:bodyPr lIns="0" tIns="0" rIns="0" bIns="0">
            <a:noAutofit/>
          </a:bodyPr>
          <a:lstStyle>
            <a:lvl1pPr>
              <a:defRPr>
                <a:solidFill>
                  <a:schemeClr val="bg1"/>
                </a:solidFill>
              </a:defRPr>
            </a:lvl1pPr>
            <a:lvl2pPr>
              <a:defRPr>
                <a:solidFill>
                  <a:schemeClr val="bg1"/>
                </a:solidFill>
              </a:defRPr>
            </a:lvl2pPr>
            <a:lvl3pPr marL="715963" indent="-357188">
              <a:buFont typeface="Segoe UI" panose="020B0502040204020203" pitchFamily="34" charset="0"/>
              <a:buChar char="̵"/>
              <a:defRPr>
                <a:solidFill>
                  <a:schemeClr val="bg1"/>
                </a:solidFill>
              </a:defRPr>
            </a:lvl3pPr>
            <a:lvl4pPr>
              <a:defRPr>
                <a:solidFill>
                  <a:schemeClr val="bg1"/>
                </a:solidFill>
              </a:defRPr>
            </a:lvl4pPr>
            <a:lvl5pPr marL="1431925" indent="-357188">
              <a:buFont typeface="Segoe UI" panose="020B0502040204020203" pitchFamily="34" charset="0"/>
              <a:buChar cha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75512014"/>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ody - 2 column dark">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600083" y="1828804"/>
            <a:ext cx="3857623" cy="4648201"/>
          </a:xfrm>
          <a:prstGeom prst="rect">
            <a:avLst/>
          </a:prstGeom>
        </p:spPr>
        <p:txBody>
          <a:bodyPr lIns="0" tIns="0" rIns="0" bIns="0">
            <a:noAutofit/>
          </a:bodyPr>
          <a:lstStyle>
            <a:lvl1pPr>
              <a:defRPr sz="1600" b="0">
                <a:solidFill>
                  <a:schemeClr val="bg1"/>
                </a:solidFill>
                <a:latin typeface="+mn-lt"/>
              </a:defRPr>
            </a:lvl1pPr>
            <a:lvl2pPr>
              <a:defRPr sz="1600" b="0">
                <a:solidFill>
                  <a:schemeClr val="bg1"/>
                </a:solidFill>
                <a:latin typeface="+mn-lt"/>
              </a:defRPr>
            </a:lvl2pPr>
            <a:lvl3pPr marL="715963" indent="-357188">
              <a:buFont typeface="Segoe UI" panose="020B0502040204020203" pitchFamily="34" charset="0"/>
              <a:buChar char="̵"/>
              <a:defRPr sz="1600" b="0">
                <a:solidFill>
                  <a:schemeClr val="bg1"/>
                </a:solidFill>
                <a:latin typeface="+mn-lt"/>
              </a:defRPr>
            </a:lvl3pPr>
            <a:lvl4pPr>
              <a:defRPr sz="1600" b="0">
                <a:solidFill>
                  <a:schemeClr val="bg1"/>
                </a:solidFill>
                <a:latin typeface="+mn-lt"/>
              </a:defRPr>
            </a:lvl4pPr>
            <a:lvl5pPr marL="1431925" indent="-357188">
              <a:buFont typeface="Segoe UI" panose="020B0502040204020203" pitchFamily="34" charset="0"/>
              <a:buChar char="̵"/>
              <a:defRPr sz="1600" b="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6"/>
          <p:cNvSpPr>
            <a:spLocks noGrp="1"/>
          </p:cNvSpPr>
          <p:nvPr>
            <p:ph sz="quarter" idx="12"/>
          </p:nvPr>
        </p:nvSpPr>
        <p:spPr>
          <a:xfrm>
            <a:off x="4689482" y="1828804"/>
            <a:ext cx="3857623" cy="4648201"/>
          </a:xfrm>
          <a:prstGeom prst="rect">
            <a:avLst/>
          </a:prstGeom>
        </p:spPr>
        <p:txBody>
          <a:bodyPr lIns="0" tIns="0" rIns="0" bIns="0">
            <a:noAutofit/>
          </a:bodyPr>
          <a:lstStyle>
            <a:lvl1pPr>
              <a:defRPr sz="1600" b="0">
                <a:solidFill>
                  <a:schemeClr val="bg1"/>
                </a:solidFill>
                <a:latin typeface="+mn-lt"/>
              </a:defRPr>
            </a:lvl1pPr>
            <a:lvl2pPr>
              <a:defRPr sz="1600" b="0">
                <a:solidFill>
                  <a:schemeClr val="bg1"/>
                </a:solidFill>
                <a:latin typeface="+mn-lt"/>
              </a:defRPr>
            </a:lvl2pPr>
            <a:lvl3pPr marL="715963" indent="-357188">
              <a:buFont typeface="Segoe UI" panose="020B0502040204020203" pitchFamily="34" charset="0"/>
              <a:buChar char="̵"/>
              <a:defRPr sz="1600" b="0">
                <a:solidFill>
                  <a:schemeClr val="bg1"/>
                </a:solidFill>
                <a:latin typeface="+mn-lt"/>
              </a:defRPr>
            </a:lvl3pPr>
            <a:lvl4pPr>
              <a:defRPr sz="1600" b="0">
                <a:solidFill>
                  <a:schemeClr val="bg1"/>
                </a:solidFill>
                <a:latin typeface="+mn-lt"/>
              </a:defRPr>
            </a:lvl4pPr>
            <a:lvl5pPr marL="1431925" indent="-357188">
              <a:buFont typeface="Segoe UI" panose="020B0502040204020203" pitchFamily="34" charset="0"/>
              <a:buChar char="̵"/>
              <a:defRPr sz="1600" b="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noAutofit/>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192559166"/>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ody - 3 column dark">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600077" y="1841500"/>
            <a:ext cx="2486024" cy="4635501"/>
          </a:xfrm>
          <a:prstGeom prst="rect">
            <a:avLst/>
          </a:prstGeom>
        </p:spPr>
        <p:txBody>
          <a:bodyPr lIns="0" tIns="0" rIns="0" bIns="0" numCol="1">
            <a:noAutofit/>
          </a:bodyPr>
          <a:lstStyle>
            <a:lvl1pPr>
              <a:defRPr sz="1600" b="0">
                <a:solidFill>
                  <a:schemeClr val="bg1"/>
                </a:solidFill>
                <a:latin typeface="+mn-lt"/>
              </a:defRPr>
            </a:lvl1pPr>
            <a:lvl2pPr>
              <a:defRPr sz="1600" b="0">
                <a:solidFill>
                  <a:schemeClr val="bg1"/>
                </a:solidFill>
                <a:latin typeface="+mn-lt"/>
              </a:defRPr>
            </a:lvl2pPr>
            <a:lvl3pPr marL="715963" indent="-357188">
              <a:buFont typeface="Segoe UI" panose="020B0502040204020203" pitchFamily="34" charset="0"/>
              <a:buChar char="̵"/>
              <a:defRPr sz="1600" b="0">
                <a:solidFill>
                  <a:schemeClr val="bg1"/>
                </a:solidFill>
                <a:latin typeface="+mn-lt"/>
              </a:defRPr>
            </a:lvl3pPr>
            <a:lvl4pPr>
              <a:defRPr sz="1600" b="0">
                <a:solidFill>
                  <a:schemeClr val="bg1"/>
                </a:solidFill>
                <a:latin typeface="+mn-lt"/>
              </a:defRPr>
            </a:lvl4pPr>
            <a:lvl5pPr marL="1431925" indent="-357188">
              <a:buFont typeface="Segoe UI" panose="020B0502040204020203" pitchFamily="34" charset="0"/>
              <a:buChar char="̵"/>
              <a:defRPr sz="1600" b="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6"/>
          <p:cNvSpPr>
            <a:spLocks noGrp="1"/>
          </p:cNvSpPr>
          <p:nvPr>
            <p:ph sz="quarter" idx="12"/>
          </p:nvPr>
        </p:nvSpPr>
        <p:spPr>
          <a:xfrm>
            <a:off x="3336927" y="1841500"/>
            <a:ext cx="2486024" cy="4635501"/>
          </a:xfrm>
          <a:prstGeom prst="rect">
            <a:avLst/>
          </a:prstGeom>
        </p:spPr>
        <p:txBody>
          <a:bodyPr lIns="0" tIns="0" rIns="0" bIns="0" numCol="1">
            <a:noAutofit/>
          </a:bodyPr>
          <a:lstStyle>
            <a:lvl1pPr>
              <a:defRPr sz="1600" b="0">
                <a:solidFill>
                  <a:schemeClr val="bg1"/>
                </a:solidFill>
                <a:latin typeface="+mn-lt"/>
              </a:defRPr>
            </a:lvl1pPr>
            <a:lvl2pPr>
              <a:defRPr sz="1600" b="0">
                <a:solidFill>
                  <a:schemeClr val="bg1"/>
                </a:solidFill>
                <a:latin typeface="+mn-lt"/>
              </a:defRPr>
            </a:lvl2pPr>
            <a:lvl3pPr marL="715963" indent="-357188">
              <a:buFont typeface="Segoe UI" panose="020B0502040204020203" pitchFamily="34" charset="0"/>
              <a:buChar char="̵"/>
              <a:defRPr sz="1600" b="0">
                <a:solidFill>
                  <a:schemeClr val="bg1"/>
                </a:solidFill>
                <a:latin typeface="+mn-lt"/>
              </a:defRPr>
            </a:lvl3pPr>
            <a:lvl4pPr>
              <a:defRPr sz="1600" b="0">
                <a:solidFill>
                  <a:schemeClr val="bg1"/>
                </a:solidFill>
                <a:latin typeface="+mn-lt"/>
              </a:defRPr>
            </a:lvl4pPr>
            <a:lvl5pPr marL="1431925" indent="-357188">
              <a:buFont typeface="Segoe UI" panose="020B0502040204020203" pitchFamily="34" charset="0"/>
              <a:buChar char="̵"/>
              <a:defRPr sz="1600" b="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6"/>
          <p:cNvSpPr>
            <a:spLocks noGrp="1"/>
          </p:cNvSpPr>
          <p:nvPr>
            <p:ph sz="quarter" idx="13"/>
          </p:nvPr>
        </p:nvSpPr>
        <p:spPr>
          <a:xfrm>
            <a:off x="6067427" y="1841500"/>
            <a:ext cx="2490786" cy="4635501"/>
          </a:xfrm>
          <a:prstGeom prst="rect">
            <a:avLst/>
          </a:prstGeom>
        </p:spPr>
        <p:txBody>
          <a:bodyPr lIns="0" tIns="0" rIns="0" bIns="0" numCol="1">
            <a:noAutofit/>
          </a:bodyPr>
          <a:lstStyle>
            <a:lvl1pPr>
              <a:defRPr sz="1600" b="0">
                <a:solidFill>
                  <a:schemeClr val="bg1"/>
                </a:solidFill>
                <a:latin typeface="+mn-lt"/>
              </a:defRPr>
            </a:lvl1pPr>
            <a:lvl2pPr>
              <a:defRPr sz="1600" b="0">
                <a:solidFill>
                  <a:schemeClr val="bg1"/>
                </a:solidFill>
                <a:latin typeface="+mn-lt"/>
              </a:defRPr>
            </a:lvl2pPr>
            <a:lvl3pPr marL="715963" indent="-357188">
              <a:buFont typeface="Segoe UI" panose="020B0502040204020203" pitchFamily="34" charset="0"/>
              <a:buChar char="̵"/>
              <a:defRPr sz="1600" b="0">
                <a:solidFill>
                  <a:schemeClr val="bg1"/>
                </a:solidFill>
                <a:latin typeface="+mn-lt"/>
              </a:defRPr>
            </a:lvl3pPr>
            <a:lvl4pPr>
              <a:defRPr sz="1600" b="0">
                <a:solidFill>
                  <a:schemeClr val="bg1"/>
                </a:solidFill>
                <a:latin typeface="+mn-lt"/>
              </a:defRPr>
            </a:lvl4pPr>
            <a:lvl5pPr marL="1431925" indent="-357188">
              <a:buFont typeface="Segoe UI" panose="020B0502040204020203" pitchFamily="34" charset="0"/>
              <a:buChar char="̵"/>
              <a:defRPr sz="1600" b="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noAutofit/>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83123717"/>
      </p:ext>
    </p:extLst>
  </p:cSld>
  <p:clrMapOvr>
    <a:masterClrMapping/>
  </p:clrMapOvr>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28.xml"/><Relationship Id="rId7" Type="http://schemas.openxmlformats.org/officeDocument/2006/relationships/tags" Target="../tags/tag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vmlDrawing" Target="../drawings/vmlDrawing3.vml"/><Relationship Id="rId5" Type="http://schemas.openxmlformats.org/officeDocument/2006/relationships/theme" Target="../theme/theme2.xml"/><Relationship Id="rId4" Type="http://schemas.openxmlformats.org/officeDocument/2006/relationships/slideLayout" Target="../slideLayouts/slideLayout29.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theme" Target="../theme/theme3.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image" Target="../media/image1.emf"/><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oleObject" Target="../embeddings/oleObject4.bin"/><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tags" Target="../tags/tag4.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vmlDrawing" Target="../drawings/vmlDrawing4.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oleObject" Target="../embeddings/oleObject5.bin"/><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ags" Target="../tags/tag5.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vmlDrawing" Target="../drawings/vmlDrawing5.vml"/><Relationship Id="rId5" Type="http://schemas.openxmlformats.org/officeDocument/2006/relationships/slideLayout" Target="../slideLayouts/slideLayout54.xml"/><Relationship Id="rId10" Type="http://schemas.openxmlformats.org/officeDocument/2006/relationships/theme" Target="../theme/theme4.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oleObject" Target="../embeddings/oleObject6.bin"/><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tags" Target="../tags/tag6.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vmlDrawing" Target="../drawings/vmlDrawing6.vml"/><Relationship Id="rId5" Type="http://schemas.openxmlformats.org/officeDocument/2006/relationships/slideLayout" Target="../slideLayouts/slideLayout63.xml"/><Relationship Id="rId10" Type="http://schemas.openxmlformats.org/officeDocument/2006/relationships/theme" Target="../theme/theme5.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oleObject" Target="../embeddings/oleObject7.bin"/><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ags" Target="../tags/tag7.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vmlDrawing" Target="../drawings/vmlDrawing7.vml"/><Relationship Id="rId5" Type="http://schemas.openxmlformats.org/officeDocument/2006/relationships/slideLayout" Target="../slideLayouts/slideLayout72.xml"/><Relationship Id="rId10" Type="http://schemas.openxmlformats.org/officeDocument/2006/relationships/theme" Target="../theme/theme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oleObject" Target="../embeddings/oleObject8.bin"/><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tags" Target="../tags/tag8.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vmlDrawing" Target="../drawings/vmlDrawing8.vml"/><Relationship Id="rId5" Type="http://schemas.openxmlformats.org/officeDocument/2006/relationships/slideLayout" Target="../slideLayouts/slideLayout81.xml"/><Relationship Id="rId10" Type="http://schemas.openxmlformats.org/officeDocument/2006/relationships/theme" Target="../theme/theme7.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tags" Target="../tags/tag9.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vmlDrawing" Target="../drawings/vmlDrawing9.v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41" Type="http://schemas.openxmlformats.org/officeDocument/2006/relationships/image" Target="../media/image1.emf"/><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theme" Target="../theme/theme8.xml"/><Relationship Id="rId40" Type="http://schemas.openxmlformats.org/officeDocument/2006/relationships/oleObject" Target="../embeddings/oleObject9.bin"/><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slideLayout" Target="../slideLayouts/slideLayout147.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slideLayout" Target="../slideLayouts/slideLayout146.xml"/><Relationship Id="rId33" Type="http://schemas.openxmlformats.org/officeDocument/2006/relationships/image" Target="../media/image1.emf"/><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29" Type="http://schemas.openxmlformats.org/officeDocument/2006/relationships/theme" Target="../theme/theme9.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slideLayout" Target="../slideLayouts/slideLayout145.xml"/><Relationship Id="rId32" Type="http://schemas.openxmlformats.org/officeDocument/2006/relationships/oleObject" Target="../embeddings/oleObject1.bin"/><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slideLayout" Target="../slideLayouts/slideLayout144.xml"/><Relationship Id="rId28" Type="http://schemas.openxmlformats.org/officeDocument/2006/relationships/slideLayout" Target="../slideLayouts/slideLayout149.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31" Type="http://schemas.openxmlformats.org/officeDocument/2006/relationships/tags" Target="../tags/tag12.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 Id="rId27" Type="http://schemas.openxmlformats.org/officeDocument/2006/relationships/slideLayout" Target="../slideLayouts/slideLayout148.xml"/><Relationship Id="rId30" Type="http://schemas.openxmlformats.org/officeDocument/2006/relationships/vmlDrawing" Target="../drawings/vmlDrawing12.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8"/>
            </p:custDataLst>
            <p:extLst>
              <p:ext uri="{D42A27DB-BD31-4B8C-83A1-F6EECF244321}">
                <p14:modId xmlns:p14="http://schemas.microsoft.com/office/powerpoint/2010/main" val="1346595391"/>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1347"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1591"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00077" y="398977"/>
            <a:ext cx="7943846" cy="800867"/>
          </a:xfrm>
          <a:prstGeom prst="rect">
            <a:avLst/>
          </a:prstGeom>
        </p:spPr>
        <p:txBody>
          <a:bodyPr vert="horz" lIns="0" tIns="0" rIns="0" bIns="0" rtlCol="0" anchor="b" anchorCtr="0">
            <a:noAutofit/>
          </a:bodyPr>
          <a:lstStyle/>
          <a:p>
            <a:r>
              <a:rPr lang="en-US" dirty="0"/>
              <a:t>Click to edit Master title style</a:t>
            </a:r>
            <a:endParaRPr lang="en-AU" dirty="0"/>
          </a:p>
        </p:txBody>
      </p:sp>
      <p:sp>
        <p:nvSpPr>
          <p:cNvPr id="9" name="Parallelogram 8"/>
          <p:cNvSpPr/>
          <p:nvPr userDrawn="1"/>
        </p:nvSpPr>
        <p:spPr>
          <a:xfrm>
            <a:off x="593726" y="1364891"/>
            <a:ext cx="720000" cy="60959"/>
          </a:xfrm>
          <a:prstGeom prst="parallelogram">
            <a:avLst>
              <a:gd name="adj" fmla="val 37993"/>
            </a:avLst>
          </a:pr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Text Placeholder 2"/>
          <p:cNvSpPr>
            <a:spLocks noGrp="1"/>
          </p:cNvSpPr>
          <p:nvPr>
            <p:ph type="body" idx="1"/>
          </p:nvPr>
        </p:nvSpPr>
        <p:spPr>
          <a:xfrm>
            <a:off x="593726" y="1827213"/>
            <a:ext cx="7955914" cy="46862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3"/>
          </p:nvPr>
        </p:nvSpPr>
        <p:spPr>
          <a:xfrm>
            <a:off x="593726" y="6551612"/>
            <a:ext cx="7946387" cy="207963"/>
          </a:xfrm>
          <a:prstGeom prst="rect">
            <a:avLst/>
          </a:prstGeom>
        </p:spPr>
        <p:txBody>
          <a:bodyPr vert="horz" lIns="91440" tIns="45720" rIns="0" bIns="45720" rtlCol="0" anchor="ctr"/>
          <a:lstStyle>
            <a:lvl1pPr algn="r">
              <a:defRPr sz="800">
                <a:solidFill>
                  <a:schemeClr val="bg2"/>
                </a:solidFill>
              </a:defRPr>
            </a:lvl1pPr>
          </a:lstStyle>
          <a:p>
            <a:r>
              <a:rPr lang="en-US"/>
              <a:t>Timesaver Template</a:t>
            </a:r>
          </a:p>
        </p:txBody>
      </p:sp>
      <p:sp>
        <p:nvSpPr>
          <p:cNvPr id="6" name="Slide Number Placeholder 5"/>
          <p:cNvSpPr>
            <a:spLocks noGrp="1"/>
          </p:cNvSpPr>
          <p:nvPr>
            <p:ph type="sldNum" sz="quarter" idx="4"/>
          </p:nvPr>
        </p:nvSpPr>
        <p:spPr>
          <a:xfrm>
            <a:off x="8618220" y="6551612"/>
            <a:ext cx="464820" cy="207963"/>
          </a:xfrm>
          <a:prstGeom prst="rect">
            <a:avLst/>
          </a:prstGeom>
        </p:spPr>
        <p:txBody>
          <a:bodyPr vert="horz" lIns="91440" tIns="45720" rIns="91440" bIns="45720" rtlCol="0" anchor="ctr"/>
          <a:lstStyle>
            <a:lvl1pPr algn="l">
              <a:defRPr sz="800">
                <a:solidFill>
                  <a:schemeClr val="bg2"/>
                </a:solidFill>
              </a:defRPr>
            </a:lvl1pPr>
          </a:lstStyle>
          <a:p>
            <a:fld id="{92D0FD2A-77A2-4D72-8810-21B59CAC11F0}" type="slidenum">
              <a:rPr lang="en-US" smtClean="0"/>
              <a:pPr/>
              <a:t>‹#›</a:t>
            </a:fld>
            <a:endParaRPr lang="en-US"/>
          </a:p>
        </p:txBody>
      </p:sp>
    </p:spTree>
    <p:extLst>
      <p:ext uri="{BB962C8B-B14F-4D97-AF65-F5344CB8AC3E}">
        <p14:creationId xmlns:p14="http://schemas.microsoft.com/office/powerpoint/2010/main" val="569668677"/>
      </p:ext>
    </p:extLst>
  </p:cSld>
  <p:clrMap bg1="lt1" tx1="dk1" bg2="lt2" tx2="dk2" accent1="accent1" accent2="accent2" accent3="accent3" accent4="accent4" accent5="accent5" accent6="accent6" hlink="hlink" folHlink="folHlink"/>
  <p:sldLayoutIdLst>
    <p:sldLayoutId id="2147483778" r:id="rId1"/>
    <p:sldLayoutId id="2147483784" r:id="rId2"/>
    <p:sldLayoutId id="2147483783" r:id="rId3"/>
    <p:sldLayoutId id="2147483802" r:id="rId4"/>
    <p:sldLayoutId id="2147483811" r:id="rId5"/>
    <p:sldLayoutId id="2147483800" r:id="rId6"/>
    <p:sldLayoutId id="2147483808" r:id="rId7"/>
    <p:sldLayoutId id="2147483812" r:id="rId8"/>
    <p:sldLayoutId id="2147483813" r:id="rId9"/>
    <p:sldLayoutId id="2147483814" r:id="rId10"/>
    <p:sldLayoutId id="2147483820" r:id="rId11"/>
    <p:sldLayoutId id="2147483816" r:id="rId12"/>
    <p:sldLayoutId id="2147483840" r:id="rId13"/>
    <p:sldLayoutId id="2147483819" r:id="rId14"/>
    <p:sldLayoutId id="2147483848" r:id="rId15"/>
    <p:sldLayoutId id="2147483849" r:id="rId16"/>
    <p:sldLayoutId id="2147483850" r:id="rId17"/>
    <p:sldLayoutId id="2147483851" r:id="rId18"/>
    <p:sldLayoutId id="2147483807" r:id="rId19"/>
    <p:sldLayoutId id="2147483828" r:id="rId20"/>
    <p:sldLayoutId id="2147483781" r:id="rId21"/>
    <p:sldLayoutId id="2147483789" r:id="rId22"/>
    <p:sldLayoutId id="2147483801" r:id="rId23"/>
    <p:sldLayoutId id="2147484063" r:id="rId24"/>
    <p:sldLayoutId id="2147484064"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ts val="3200"/>
        </a:lnSpc>
        <a:spcBef>
          <a:spcPct val="0"/>
        </a:spcBef>
        <a:buNone/>
        <a:defRPr sz="2800" b="0" kern="1200">
          <a:solidFill>
            <a:srgbClr val="162934"/>
          </a:solidFill>
          <a:latin typeface="Segoe UI Light" panose="020B0502040204020203" pitchFamily="34" charset="0"/>
          <a:ea typeface="Segoe UI" panose="020B0502040204020203" pitchFamily="34" charset="0"/>
          <a:cs typeface="Segoe UI" panose="020B0502040204020203" pitchFamily="34" charset="0"/>
        </a:defRPr>
      </a:lvl1pPr>
    </p:titleStyle>
    <p:bodyStyle>
      <a:lvl1pPr marL="0" indent="0" algn="l" defTabSz="914400" rtl="0" eaLnBrk="1" latinLnBrk="0" hangingPunct="1">
        <a:spcBef>
          <a:spcPts val="600"/>
        </a:spcBef>
        <a:spcAft>
          <a:spcPts val="600"/>
        </a:spcAft>
        <a:buClr>
          <a:schemeClr val="accent6"/>
        </a:buClr>
        <a:buFont typeface="Wingdings" pitchFamily="2" charset="2"/>
        <a:buNone/>
        <a:defRPr sz="1600" kern="1200">
          <a:solidFill>
            <a:schemeClr val="tx1"/>
          </a:solidFill>
          <a:latin typeface="+mn-lt"/>
          <a:ea typeface="Segoe UI" panose="020B0502040204020203" pitchFamily="34" charset="0"/>
          <a:cs typeface="Segoe UI" panose="020B0502040204020203" pitchFamily="34" charset="0"/>
        </a:defRPr>
      </a:lvl1pPr>
      <a:lvl2pPr marL="358775" indent="-358775" algn="l" defTabSz="914400" rtl="0" eaLnBrk="1" latinLnBrk="0" hangingPunct="1">
        <a:spcBef>
          <a:spcPts val="600"/>
        </a:spcBef>
        <a:spcAft>
          <a:spcPts val="600"/>
        </a:spcAft>
        <a:buClr>
          <a:schemeClr val="tx2"/>
        </a:buClr>
        <a:buFont typeface="Arial" pitchFamily="34" charset="0"/>
        <a:buChar char="•"/>
        <a:defRPr sz="1600" kern="1200">
          <a:solidFill>
            <a:schemeClr val="tx1"/>
          </a:solidFill>
          <a:latin typeface="+mn-lt"/>
          <a:ea typeface="Segoe UI" panose="020B0502040204020203" pitchFamily="34" charset="0"/>
          <a:cs typeface="Segoe UI" panose="020B0502040204020203" pitchFamily="34" charset="0"/>
        </a:defRPr>
      </a:lvl2pPr>
      <a:lvl3pPr marL="715963" indent="-357188" algn="l" defTabSz="914400" rtl="0" eaLnBrk="1" latinLnBrk="0" hangingPunct="1">
        <a:spcBef>
          <a:spcPts val="600"/>
        </a:spcBef>
        <a:spcAft>
          <a:spcPts val="600"/>
        </a:spcAft>
        <a:buClr>
          <a:schemeClr val="tx2"/>
        </a:buClr>
        <a:buFont typeface="Arial" pitchFamily="34" charset="0"/>
        <a:buChar char="•"/>
        <a:tabLst/>
        <a:defRPr sz="1600" kern="1200">
          <a:solidFill>
            <a:schemeClr val="tx1"/>
          </a:solidFill>
          <a:latin typeface="+mn-lt"/>
          <a:ea typeface="Segoe UI" panose="020B0502040204020203" pitchFamily="34" charset="0"/>
          <a:cs typeface="Segoe UI" panose="020B0502040204020203" pitchFamily="34" charset="0"/>
        </a:defRPr>
      </a:lvl3pPr>
      <a:lvl4pPr marL="1074738" indent="-358775" algn="l" defTabSz="914400" rtl="0" eaLnBrk="1" latinLnBrk="0" hangingPunct="1">
        <a:spcBef>
          <a:spcPts val="600"/>
        </a:spcBef>
        <a:spcAft>
          <a:spcPts val="600"/>
        </a:spcAft>
        <a:buClr>
          <a:schemeClr val="tx2"/>
        </a:buClr>
        <a:buFont typeface="Arial" pitchFamily="34" charset="0"/>
        <a:buChar char="•"/>
        <a:defRPr sz="1600" kern="1200">
          <a:solidFill>
            <a:schemeClr val="tx1"/>
          </a:solidFill>
          <a:latin typeface="+mn-lt"/>
          <a:ea typeface="Segoe UI" panose="020B0502040204020203" pitchFamily="34" charset="0"/>
          <a:cs typeface="Segoe UI" panose="020B0502040204020203" pitchFamily="34" charset="0"/>
        </a:defRPr>
      </a:lvl4pPr>
      <a:lvl5pPr marL="1431925" indent="-357188" algn="l" defTabSz="914400" rtl="0" eaLnBrk="1" latinLnBrk="0" hangingPunct="1">
        <a:spcBef>
          <a:spcPts val="600"/>
        </a:spcBef>
        <a:spcAft>
          <a:spcPts val="600"/>
        </a:spcAft>
        <a:buClr>
          <a:schemeClr val="tx2"/>
        </a:buClr>
        <a:buFont typeface="Arial" pitchFamily="34" charset="0"/>
        <a:buChar char="•"/>
        <a:defRPr sz="1600" kern="1200" baseline="0">
          <a:solidFill>
            <a:schemeClr val="tx1"/>
          </a:solidFill>
          <a:latin typeface="+mn-lt"/>
          <a:ea typeface="Segoe UI" panose="020B0502040204020203" pitchFamily="34" charset="0"/>
          <a:cs typeface="Segoe UI" panose="020B0502040204020203" pitchFamily="34" charset="0"/>
        </a:defRPr>
      </a:lvl5pPr>
      <a:lvl6pPr marL="17028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6pPr>
      <a:lvl7pPr marL="19656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7pPr>
      <a:lvl8pPr marL="22284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8pPr>
      <a:lvl9pPr marL="24912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7"/>
            </p:custDataLst>
            <p:extLst>
              <p:ext uri="{D42A27DB-BD31-4B8C-83A1-F6EECF244321}">
                <p14:modId xmlns:p14="http://schemas.microsoft.com/office/powerpoint/2010/main" val="4142707867"/>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422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91"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00077" y="398977"/>
            <a:ext cx="7943846" cy="800867"/>
          </a:xfrm>
          <a:prstGeom prst="rect">
            <a:avLst/>
          </a:prstGeom>
        </p:spPr>
        <p:txBody>
          <a:bodyPr vert="horz" lIns="0" tIns="0" rIns="0" bIns="0" rtlCol="0" anchor="b" anchorCtr="0">
            <a:noAutofit/>
          </a:bodyPr>
          <a:lstStyle/>
          <a:p>
            <a:r>
              <a:rPr lang="en-US" dirty="0"/>
              <a:t>Click to edit Master title style</a:t>
            </a:r>
            <a:endParaRPr lang="en-AU" dirty="0"/>
          </a:p>
        </p:txBody>
      </p:sp>
      <p:sp>
        <p:nvSpPr>
          <p:cNvPr id="9" name="Parallelogram 8"/>
          <p:cNvSpPr/>
          <p:nvPr userDrawn="1"/>
        </p:nvSpPr>
        <p:spPr>
          <a:xfrm>
            <a:off x="593726" y="1364891"/>
            <a:ext cx="720000" cy="60959"/>
          </a:xfrm>
          <a:prstGeom prst="parallelogram">
            <a:avLst>
              <a:gd name="adj" fmla="val 37993"/>
            </a:avLst>
          </a:pr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Text Placeholder 2"/>
          <p:cNvSpPr>
            <a:spLocks noGrp="1"/>
          </p:cNvSpPr>
          <p:nvPr>
            <p:ph type="body" idx="1"/>
          </p:nvPr>
        </p:nvSpPr>
        <p:spPr>
          <a:xfrm>
            <a:off x="593726" y="1827213"/>
            <a:ext cx="7955914" cy="46862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9829638"/>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ts val="3200"/>
        </a:lnSpc>
        <a:spcBef>
          <a:spcPct val="0"/>
        </a:spcBef>
        <a:buNone/>
        <a:defRPr sz="2800" b="0" kern="1200">
          <a:solidFill>
            <a:srgbClr val="162934"/>
          </a:solidFill>
          <a:latin typeface="Segoe UI Light" panose="020B0502040204020203" pitchFamily="34" charset="0"/>
          <a:ea typeface="Segoe UI" panose="020B0502040204020203" pitchFamily="34" charset="0"/>
          <a:cs typeface="Segoe UI" panose="020B0502040204020203" pitchFamily="34" charset="0"/>
        </a:defRPr>
      </a:lvl1pPr>
    </p:titleStyle>
    <p:bodyStyle>
      <a:lvl1pPr marL="0" indent="0" algn="l" defTabSz="914400" rtl="0" eaLnBrk="1" latinLnBrk="0" hangingPunct="1">
        <a:spcBef>
          <a:spcPts val="600"/>
        </a:spcBef>
        <a:spcAft>
          <a:spcPts val="600"/>
        </a:spcAft>
        <a:buClr>
          <a:schemeClr val="accent6"/>
        </a:buClr>
        <a:buFont typeface="Wingdings" pitchFamily="2" charset="2"/>
        <a:buNone/>
        <a:defRPr sz="1600" kern="1200">
          <a:solidFill>
            <a:schemeClr val="tx1"/>
          </a:solidFill>
          <a:latin typeface="+mn-lt"/>
          <a:ea typeface="Segoe UI" panose="020B0502040204020203" pitchFamily="34" charset="0"/>
          <a:cs typeface="Segoe UI" panose="020B0502040204020203" pitchFamily="34" charset="0"/>
        </a:defRPr>
      </a:lvl1pPr>
      <a:lvl2pPr marL="358775" indent="-358775" algn="l" defTabSz="914400" rtl="0" eaLnBrk="1" latinLnBrk="0" hangingPunct="1">
        <a:spcBef>
          <a:spcPts val="600"/>
        </a:spcBef>
        <a:spcAft>
          <a:spcPts val="600"/>
        </a:spcAft>
        <a:buClr>
          <a:schemeClr val="tx2"/>
        </a:buClr>
        <a:buFont typeface="Arial" pitchFamily="34" charset="0"/>
        <a:buChar char="•"/>
        <a:defRPr sz="1600" kern="1200">
          <a:solidFill>
            <a:schemeClr val="tx1"/>
          </a:solidFill>
          <a:latin typeface="+mn-lt"/>
          <a:ea typeface="Segoe UI" panose="020B0502040204020203" pitchFamily="34" charset="0"/>
          <a:cs typeface="Segoe UI" panose="020B0502040204020203" pitchFamily="34" charset="0"/>
        </a:defRPr>
      </a:lvl2pPr>
      <a:lvl3pPr marL="715963" indent="-357188" algn="l" defTabSz="914400" rtl="0" eaLnBrk="1" latinLnBrk="0" hangingPunct="1">
        <a:spcBef>
          <a:spcPts val="600"/>
        </a:spcBef>
        <a:spcAft>
          <a:spcPts val="600"/>
        </a:spcAft>
        <a:buClr>
          <a:schemeClr val="tx2"/>
        </a:buClr>
        <a:buFont typeface="Arial" pitchFamily="34" charset="0"/>
        <a:buChar char="•"/>
        <a:tabLst/>
        <a:defRPr sz="1600" kern="1200">
          <a:solidFill>
            <a:schemeClr val="tx1"/>
          </a:solidFill>
          <a:latin typeface="+mn-lt"/>
          <a:ea typeface="Segoe UI" panose="020B0502040204020203" pitchFamily="34" charset="0"/>
          <a:cs typeface="Segoe UI" panose="020B0502040204020203" pitchFamily="34" charset="0"/>
        </a:defRPr>
      </a:lvl3pPr>
      <a:lvl4pPr marL="1074738" indent="-358775" algn="l" defTabSz="914400" rtl="0" eaLnBrk="1" latinLnBrk="0" hangingPunct="1">
        <a:spcBef>
          <a:spcPts val="600"/>
        </a:spcBef>
        <a:spcAft>
          <a:spcPts val="600"/>
        </a:spcAft>
        <a:buClr>
          <a:schemeClr val="tx2"/>
        </a:buClr>
        <a:buFont typeface="Arial" pitchFamily="34" charset="0"/>
        <a:buChar char="•"/>
        <a:defRPr sz="1600" kern="1200">
          <a:solidFill>
            <a:schemeClr val="tx1"/>
          </a:solidFill>
          <a:latin typeface="+mn-lt"/>
          <a:ea typeface="Segoe UI" panose="020B0502040204020203" pitchFamily="34" charset="0"/>
          <a:cs typeface="Segoe UI" panose="020B0502040204020203" pitchFamily="34" charset="0"/>
        </a:defRPr>
      </a:lvl4pPr>
      <a:lvl5pPr marL="1431925" indent="-357188" algn="l" defTabSz="914400" rtl="0" eaLnBrk="1" latinLnBrk="0" hangingPunct="1">
        <a:spcBef>
          <a:spcPts val="600"/>
        </a:spcBef>
        <a:spcAft>
          <a:spcPts val="600"/>
        </a:spcAft>
        <a:buClr>
          <a:schemeClr val="tx2"/>
        </a:buClr>
        <a:buFont typeface="Arial" pitchFamily="34" charset="0"/>
        <a:buChar char="•"/>
        <a:defRPr sz="1600" kern="1200" baseline="0">
          <a:solidFill>
            <a:schemeClr val="tx1"/>
          </a:solidFill>
          <a:latin typeface="+mn-lt"/>
          <a:ea typeface="Segoe UI" panose="020B0502040204020203" pitchFamily="34" charset="0"/>
          <a:cs typeface="Segoe UI" panose="020B0502040204020203" pitchFamily="34" charset="0"/>
        </a:defRPr>
      </a:lvl5pPr>
      <a:lvl6pPr marL="17028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6pPr>
      <a:lvl7pPr marL="19656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7pPr>
      <a:lvl8pPr marL="22284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8pPr>
      <a:lvl9pPr marL="24912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3"/>
            </p:custDataLst>
            <p:extLst>
              <p:ext uri="{D42A27DB-BD31-4B8C-83A1-F6EECF244321}">
                <p14:modId xmlns:p14="http://schemas.microsoft.com/office/powerpoint/2010/main" val="2741717172"/>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3205"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91"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00077" y="398977"/>
            <a:ext cx="7943846" cy="800867"/>
          </a:xfrm>
          <a:prstGeom prst="rect">
            <a:avLst/>
          </a:prstGeom>
        </p:spPr>
        <p:txBody>
          <a:bodyPr vert="horz" lIns="0" tIns="0" rIns="0" bIns="0" rtlCol="0" anchor="b" anchorCtr="0">
            <a:noAutofit/>
          </a:bodyPr>
          <a:lstStyle/>
          <a:p>
            <a:r>
              <a:rPr lang="en-US" dirty="0"/>
              <a:t>Click to edit Master title style</a:t>
            </a:r>
            <a:endParaRPr lang="en-AU" dirty="0"/>
          </a:p>
        </p:txBody>
      </p:sp>
      <p:sp>
        <p:nvSpPr>
          <p:cNvPr id="9" name="Parallelogram 8"/>
          <p:cNvSpPr/>
          <p:nvPr userDrawn="1"/>
        </p:nvSpPr>
        <p:spPr>
          <a:xfrm>
            <a:off x="593726" y="1364891"/>
            <a:ext cx="720000" cy="60959"/>
          </a:xfrm>
          <a:prstGeom prst="parallelogram">
            <a:avLst>
              <a:gd name="adj" fmla="val 37993"/>
            </a:avLst>
          </a:pr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Text Placeholder 2"/>
          <p:cNvSpPr>
            <a:spLocks noGrp="1"/>
          </p:cNvSpPr>
          <p:nvPr>
            <p:ph type="body" idx="1"/>
          </p:nvPr>
        </p:nvSpPr>
        <p:spPr>
          <a:xfrm>
            <a:off x="593726" y="1827213"/>
            <a:ext cx="7955914" cy="468629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71002543"/>
      </p:ext>
    </p:extLst>
  </p:cSld>
  <p:clrMap bg1="lt1" tx1="dk1" bg2="lt2" tx2="dk2" accent1="accent1" accent2="accent2" accent3="accent3" accent4="accent4" accent5="accent5" accent6="accent6" hlink="hlink" folHlink="folHlink"/>
  <p:sldLayoutIdLst>
    <p:sldLayoutId id="2147483757" r:id="rId1"/>
    <p:sldLayoutId id="2147484062" r:id="rId2"/>
    <p:sldLayoutId id="2147483879" r:id="rId3"/>
    <p:sldLayoutId id="2147483880" r:id="rId4"/>
    <p:sldLayoutId id="2147483881" r:id="rId5"/>
    <p:sldLayoutId id="2147483882" r:id="rId6"/>
    <p:sldLayoutId id="2147483924" r:id="rId7"/>
    <p:sldLayoutId id="2147483925" r:id="rId8"/>
    <p:sldLayoutId id="2147483798" r:id="rId9"/>
    <p:sldLayoutId id="2147483916" r:id="rId10"/>
    <p:sldLayoutId id="2147483917" r:id="rId11"/>
    <p:sldLayoutId id="2147483918" r:id="rId12"/>
    <p:sldLayoutId id="2147483919" r:id="rId13"/>
    <p:sldLayoutId id="2147483809" r:id="rId14"/>
    <p:sldLayoutId id="2147483921" r:id="rId15"/>
    <p:sldLayoutId id="2147483922" r:id="rId16"/>
    <p:sldLayoutId id="2147483923" r:id="rId17"/>
    <p:sldLayoutId id="2147483920" r:id="rId18"/>
    <p:sldLayoutId id="2147483914" r:id="rId19"/>
    <p:sldLayoutId id="2147483915"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ts val="3200"/>
        </a:lnSpc>
        <a:spcBef>
          <a:spcPct val="0"/>
        </a:spcBef>
        <a:buNone/>
        <a:defRPr sz="2800" b="0" kern="120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p:titleStyle>
    <p:bodyStyle>
      <a:lvl1pPr marL="0" indent="0" algn="l" defTabSz="914400" rtl="0" eaLnBrk="1" latinLnBrk="0" hangingPunct="1">
        <a:spcBef>
          <a:spcPts val="600"/>
        </a:spcBef>
        <a:spcAft>
          <a:spcPts val="600"/>
        </a:spcAft>
        <a:buClr>
          <a:schemeClr val="accent6"/>
        </a:buClr>
        <a:buFont typeface="Wingdings" pitchFamily="2" charset="2"/>
        <a:buNone/>
        <a:defRPr sz="1600" kern="1200">
          <a:solidFill>
            <a:schemeClr val="bg1"/>
          </a:solidFill>
          <a:latin typeface="+mn-lt"/>
          <a:ea typeface="Segoe UI" panose="020B0502040204020203" pitchFamily="34" charset="0"/>
          <a:cs typeface="Segoe UI" panose="020B0502040204020203" pitchFamily="34" charset="0"/>
        </a:defRPr>
      </a:lvl1pPr>
      <a:lvl2pPr marL="358775" indent="-358775" algn="l" defTabSz="914400" rtl="0" eaLnBrk="1" latinLnBrk="0" hangingPunct="1">
        <a:spcBef>
          <a:spcPts val="600"/>
        </a:spcBef>
        <a:spcAft>
          <a:spcPts val="600"/>
        </a:spcAft>
        <a:buClr>
          <a:schemeClr val="bg1"/>
        </a:buClr>
        <a:buFont typeface="Arial" pitchFamily="34" charset="0"/>
        <a:buChar char="•"/>
        <a:defRPr sz="1600" kern="1200">
          <a:solidFill>
            <a:schemeClr val="bg1"/>
          </a:solidFill>
          <a:latin typeface="+mn-lt"/>
          <a:ea typeface="Segoe UI" panose="020B0502040204020203" pitchFamily="34" charset="0"/>
          <a:cs typeface="Segoe UI" panose="020B0502040204020203" pitchFamily="34" charset="0"/>
        </a:defRPr>
      </a:lvl2pPr>
      <a:lvl3pPr marL="715963" indent="-357188" algn="l" defTabSz="914400" rtl="0" eaLnBrk="1" latinLnBrk="0" hangingPunct="1">
        <a:spcBef>
          <a:spcPts val="600"/>
        </a:spcBef>
        <a:spcAft>
          <a:spcPts val="600"/>
        </a:spcAft>
        <a:buClr>
          <a:schemeClr val="bg1"/>
        </a:buClr>
        <a:buFont typeface="Arial" pitchFamily="34" charset="0"/>
        <a:buChar char="•"/>
        <a:tabLst/>
        <a:defRPr sz="1600" kern="1200">
          <a:solidFill>
            <a:schemeClr val="bg1"/>
          </a:solidFill>
          <a:latin typeface="+mn-lt"/>
          <a:ea typeface="Segoe UI" panose="020B0502040204020203" pitchFamily="34" charset="0"/>
          <a:cs typeface="Segoe UI" panose="020B0502040204020203" pitchFamily="34" charset="0"/>
        </a:defRPr>
      </a:lvl3pPr>
      <a:lvl4pPr marL="1074738" indent="-358775" algn="l" defTabSz="914400" rtl="0" eaLnBrk="1" latinLnBrk="0" hangingPunct="1">
        <a:spcBef>
          <a:spcPts val="600"/>
        </a:spcBef>
        <a:spcAft>
          <a:spcPts val="600"/>
        </a:spcAft>
        <a:buClr>
          <a:schemeClr val="bg1"/>
        </a:buClr>
        <a:buFont typeface="Arial" pitchFamily="34" charset="0"/>
        <a:buChar char="•"/>
        <a:defRPr sz="1600" kern="1200">
          <a:solidFill>
            <a:schemeClr val="bg1"/>
          </a:solidFill>
          <a:latin typeface="+mn-lt"/>
          <a:ea typeface="Segoe UI" panose="020B0502040204020203" pitchFamily="34" charset="0"/>
          <a:cs typeface="Segoe UI" panose="020B0502040204020203" pitchFamily="34" charset="0"/>
        </a:defRPr>
      </a:lvl4pPr>
      <a:lvl5pPr marL="1431925" indent="-357188" algn="l" defTabSz="914400" rtl="0" eaLnBrk="1" latinLnBrk="0" hangingPunct="1">
        <a:spcBef>
          <a:spcPts val="600"/>
        </a:spcBef>
        <a:spcAft>
          <a:spcPts val="600"/>
        </a:spcAft>
        <a:buClr>
          <a:schemeClr val="bg1"/>
        </a:buClr>
        <a:buFont typeface="Arial" pitchFamily="34" charset="0"/>
        <a:buChar char="•"/>
        <a:defRPr sz="1600" kern="1200" baseline="0">
          <a:solidFill>
            <a:schemeClr val="bg1"/>
          </a:solidFill>
          <a:latin typeface="+mn-lt"/>
          <a:ea typeface="Segoe UI" panose="020B0502040204020203" pitchFamily="34" charset="0"/>
          <a:cs typeface="Segoe UI" panose="020B0502040204020203" pitchFamily="34" charset="0"/>
        </a:defRPr>
      </a:lvl5pPr>
      <a:lvl6pPr marL="17028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6pPr>
      <a:lvl7pPr marL="19656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7pPr>
      <a:lvl8pPr marL="22284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8pPr>
      <a:lvl9pPr marL="24912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2"/>
            </p:custDataLst>
            <p:extLst>
              <p:ext uri="{D42A27DB-BD31-4B8C-83A1-F6EECF244321}">
                <p14:modId xmlns:p14="http://schemas.microsoft.com/office/powerpoint/2010/main" val="1211874361"/>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5251"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91"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00077" y="398977"/>
            <a:ext cx="7943846" cy="800867"/>
          </a:xfrm>
          <a:prstGeom prst="rect">
            <a:avLst/>
          </a:prstGeom>
        </p:spPr>
        <p:txBody>
          <a:bodyPr vert="horz" lIns="0" tIns="0" rIns="0" bIns="0" rtlCol="0" anchor="b" anchorCtr="0">
            <a:noAutofit/>
          </a:bodyPr>
          <a:lstStyle/>
          <a:p>
            <a:r>
              <a:rPr lang="en-US" dirty="0"/>
              <a:t>Click to edit Master title style</a:t>
            </a:r>
            <a:endParaRPr lang="en-AU" dirty="0"/>
          </a:p>
        </p:txBody>
      </p:sp>
      <p:sp>
        <p:nvSpPr>
          <p:cNvPr id="9" name="Parallelogram 8"/>
          <p:cNvSpPr/>
          <p:nvPr userDrawn="1"/>
        </p:nvSpPr>
        <p:spPr>
          <a:xfrm>
            <a:off x="593726" y="1364891"/>
            <a:ext cx="720000" cy="60959"/>
          </a:xfrm>
          <a:prstGeom prst="parallelogram">
            <a:avLst>
              <a:gd name="adj" fmla="val 37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Text Placeholder 2"/>
          <p:cNvSpPr>
            <a:spLocks noGrp="1"/>
          </p:cNvSpPr>
          <p:nvPr>
            <p:ph type="body" idx="1"/>
          </p:nvPr>
        </p:nvSpPr>
        <p:spPr>
          <a:xfrm>
            <a:off x="593726" y="1827213"/>
            <a:ext cx="7955914" cy="468629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294069"/>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70" r:id="rId5"/>
    <p:sldLayoutId id="2147483974" r:id="rId6"/>
    <p:sldLayoutId id="2147483979" r:id="rId7"/>
    <p:sldLayoutId id="2147483983" r:id="rId8"/>
    <p:sldLayoutId id="2147483987"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ts val="3200"/>
        </a:lnSpc>
        <a:spcBef>
          <a:spcPct val="0"/>
        </a:spcBef>
        <a:buNone/>
        <a:defRPr sz="2800" b="0" kern="120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p:titleStyle>
    <p:bodyStyle>
      <a:lvl1pPr marL="0" indent="0" algn="l" defTabSz="914400" rtl="0" eaLnBrk="1" latinLnBrk="0" hangingPunct="1">
        <a:spcBef>
          <a:spcPts val="600"/>
        </a:spcBef>
        <a:spcAft>
          <a:spcPts val="600"/>
        </a:spcAft>
        <a:buClr>
          <a:schemeClr val="accent6"/>
        </a:buClr>
        <a:buFont typeface="Wingdings" pitchFamily="2" charset="2"/>
        <a:buNone/>
        <a:defRPr sz="1600" kern="1200">
          <a:solidFill>
            <a:schemeClr val="bg1"/>
          </a:solidFill>
          <a:latin typeface="+mn-lt"/>
          <a:ea typeface="Segoe UI" panose="020B0502040204020203" pitchFamily="34" charset="0"/>
          <a:cs typeface="Segoe UI" panose="020B0502040204020203" pitchFamily="34" charset="0"/>
        </a:defRPr>
      </a:lvl1pPr>
      <a:lvl2pPr marL="358775" indent="-358775" algn="l" defTabSz="914400" rtl="0" eaLnBrk="1" latinLnBrk="0" hangingPunct="1">
        <a:spcBef>
          <a:spcPts val="600"/>
        </a:spcBef>
        <a:spcAft>
          <a:spcPts val="600"/>
        </a:spcAft>
        <a:buClr>
          <a:schemeClr val="bg1"/>
        </a:buClr>
        <a:buFont typeface="Arial" pitchFamily="34" charset="0"/>
        <a:buChar char="•"/>
        <a:defRPr sz="1600" kern="1200">
          <a:solidFill>
            <a:schemeClr val="bg1"/>
          </a:solidFill>
          <a:latin typeface="+mn-lt"/>
          <a:ea typeface="Segoe UI" panose="020B0502040204020203" pitchFamily="34" charset="0"/>
          <a:cs typeface="Segoe UI" panose="020B0502040204020203" pitchFamily="34" charset="0"/>
        </a:defRPr>
      </a:lvl2pPr>
      <a:lvl3pPr marL="715963" indent="-357188" algn="l" defTabSz="914400" rtl="0" eaLnBrk="1" latinLnBrk="0" hangingPunct="1">
        <a:spcBef>
          <a:spcPts val="600"/>
        </a:spcBef>
        <a:spcAft>
          <a:spcPts val="600"/>
        </a:spcAft>
        <a:buClr>
          <a:schemeClr val="bg1"/>
        </a:buClr>
        <a:buFont typeface="Arial" pitchFamily="34" charset="0"/>
        <a:buChar char="•"/>
        <a:tabLst/>
        <a:defRPr sz="1600" kern="1200">
          <a:solidFill>
            <a:schemeClr val="bg1"/>
          </a:solidFill>
          <a:latin typeface="+mn-lt"/>
          <a:ea typeface="Segoe UI" panose="020B0502040204020203" pitchFamily="34" charset="0"/>
          <a:cs typeface="Segoe UI" panose="020B0502040204020203" pitchFamily="34" charset="0"/>
        </a:defRPr>
      </a:lvl3pPr>
      <a:lvl4pPr marL="1074738" indent="-358775" algn="l" defTabSz="914400" rtl="0" eaLnBrk="1" latinLnBrk="0" hangingPunct="1">
        <a:spcBef>
          <a:spcPts val="600"/>
        </a:spcBef>
        <a:spcAft>
          <a:spcPts val="600"/>
        </a:spcAft>
        <a:buClr>
          <a:schemeClr val="bg1"/>
        </a:buClr>
        <a:buFont typeface="Arial" pitchFamily="34" charset="0"/>
        <a:buChar char="•"/>
        <a:defRPr sz="1600" kern="1200">
          <a:solidFill>
            <a:schemeClr val="bg1"/>
          </a:solidFill>
          <a:latin typeface="+mn-lt"/>
          <a:ea typeface="Segoe UI" panose="020B0502040204020203" pitchFamily="34" charset="0"/>
          <a:cs typeface="Segoe UI" panose="020B0502040204020203" pitchFamily="34" charset="0"/>
        </a:defRPr>
      </a:lvl4pPr>
      <a:lvl5pPr marL="1431925" indent="-357188" algn="l" defTabSz="914400" rtl="0" eaLnBrk="1" latinLnBrk="0" hangingPunct="1">
        <a:spcBef>
          <a:spcPts val="600"/>
        </a:spcBef>
        <a:spcAft>
          <a:spcPts val="600"/>
        </a:spcAft>
        <a:buClr>
          <a:schemeClr val="bg1"/>
        </a:buClr>
        <a:buFont typeface="Arial" pitchFamily="34" charset="0"/>
        <a:buChar char="•"/>
        <a:defRPr sz="1600" kern="1200" baseline="0">
          <a:solidFill>
            <a:schemeClr val="bg1"/>
          </a:solidFill>
          <a:latin typeface="+mn-lt"/>
          <a:ea typeface="Segoe UI" panose="020B0502040204020203" pitchFamily="34" charset="0"/>
          <a:cs typeface="Segoe UI" panose="020B0502040204020203" pitchFamily="34" charset="0"/>
        </a:defRPr>
      </a:lvl5pPr>
      <a:lvl6pPr marL="17028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6pPr>
      <a:lvl7pPr marL="19656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7pPr>
      <a:lvl8pPr marL="22284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8pPr>
      <a:lvl9pPr marL="24912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2"/>
            </p:custDataLst>
            <p:extLst>
              <p:ext uri="{D42A27DB-BD31-4B8C-83A1-F6EECF244321}">
                <p14:modId xmlns:p14="http://schemas.microsoft.com/office/powerpoint/2010/main" val="343462880"/>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6274"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91"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00077" y="398977"/>
            <a:ext cx="7943846" cy="800867"/>
          </a:xfrm>
          <a:prstGeom prst="rect">
            <a:avLst/>
          </a:prstGeom>
        </p:spPr>
        <p:txBody>
          <a:bodyPr vert="horz" lIns="0" tIns="0" rIns="0" bIns="0" rtlCol="0" anchor="b" anchorCtr="0">
            <a:noAutofit/>
          </a:bodyPr>
          <a:lstStyle/>
          <a:p>
            <a:r>
              <a:rPr lang="en-US" dirty="0"/>
              <a:t>Click to edit Master title style</a:t>
            </a:r>
            <a:endParaRPr lang="en-AU" dirty="0"/>
          </a:p>
        </p:txBody>
      </p:sp>
      <p:sp>
        <p:nvSpPr>
          <p:cNvPr id="9" name="Parallelogram 8"/>
          <p:cNvSpPr/>
          <p:nvPr userDrawn="1"/>
        </p:nvSpPr>
        <p:spPr>
          <a:xfrm>
            <a:off x="593726" y="1364891"/>
            <a:ext cx="720000" cy="60959"/>
          </a:xfrm>
          <a:prstGeom prst="parallelogram">
            <a:avLst>
              <a:gd name="adj" fmla="val 37993"/>
            </a:avLst>
          </a:pr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Text Placeholder 2"/>
          <p:cNvSpPr>
            <a:spLocks noGrp="1"/>
          </p:cNvSpPr>
          <p:nvPr>
            <p:ph type="body" idx="1"/>
          </p:nvPr>
        </p:nvSpPr>
        <p:spPr>
          <a:xfrm>
            <a:off x="593726" y="1827213"/>
            <a:ext cx="7955914" cy="468629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9819168"/>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8" r:id="rId5"/>
    <p:sldLayoutId id="2147484011" r:id="rId6"/>
    <p:sldLayoutId id="2147484015" r:id="rId7"/>
    <p:sldLayoutId id="2147484018" r:id="rId8"/>
    <p:sldLayoutId id="2147484021"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ts val="3200"/>
        </a:lnSpc>
        <a:spcBef>
          <a:spcPct val="0"/>
        </a:spcBef>
        <a:buNone/>
        <a:defRPr sz="2800" b="0" kern="120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p:titleStyle>
    <p:bodyStyle>
      <a:lvl1pPr marL="0" indent="0" algn="l" defTabSz="914400" rtl="0" eaLnBrk="1" latinLnBrk="0" hangingPunct="1">
        <a:spcBef>
          <a:spcPts val="600"/>
        </a:spcBef>
        <a:spcAft>
          <a:spcPts val="600"/>
        </a:spcAft>
        <a:buClr>
          <a:schemeClr val="accent6"/>
        </a:buClr>
        <a:buFont typeface="Wingdings" pitchFamily="2" charset="2"/>
        <a:buNone/>
        <a:defRPr sz="1600" kern="1200">
          <a:solidFill>
            <a:schemeClr val="bg1"/>
          </a:solidFill>
          <a:latin typeface="+mn-lt"/>
          <a:ea typeface="Segoe UI" panose="020B0502040204020203" pitchFamily="34" charset="0"/>
          <a:cs typeface="Segoe UI" panose="020B0502040204020203" pitchFamily="34" charset="0"/>
        </a:defRPr>
      </a:lvl1pPr>
      <a:lvl2pPr marL="358775" indent="-358775" algn="l" defTabSz="914400" rtl="0" eaLnBrk="1" latinLnBrk="0" hangingPunct="1">
        <a:spcBef>
          <a:spcPts val="600"/>
        </a:spcBef>
        <a:spcAft>
          <a:spcPts val="600"/>
        </a:spcAft>
        <a:buClr>
          <a:schemeClr val="bg1"/>
        </a:buClr>
        <a:buFont typeface="Arial" pitchFamily="34" charset="0"/>
        <a:buChar char="•"/>
        <a:defRPr sz="1600" kern="1200">
          <a:solidFill>
            <a:schemeClr val="bg1"/>
          </a:solidFill>
          <a:latin typeface="+mn-lt"/>
          <a:ea typeface="Segoe UI" panose="020B0502040204020203" pitchFamily="34" charset="0"/>
          <a:cs typeface="Segoe UI" panose="020B0502040204020203" pitchFamily="34" charset="0"/>
        </a:defRPr>
      </a:lvl2pPr>
      <a:lvl3pPr marL="715963" indent="-357188" algn="l" defTabSz="914400" rtl="0" eaLnBrk="1" latinLnBrk="0" hangingPunct="1">
        <a:spcBef>
          <a:spcPts val="600"/>
        </a:spcBef>
        <a:spcAft>
          <a:spcPts val="600"/>
        </a:spcAft>
        <a:buClr>
          <a:schemeClr val="bg1"/>
        </a:buClr>
        <a:buFont typeface="Arial" pitchFamily="34" charset="0"/>
        <a:buChar char="•"/>
        <a:tabLst/>
        <a:defRPr sz="1600" kern="1200">
          <a:solidFill>
            <a:schemeClr val="bg1"/>
          </a:solidFill>
          <a:latin typeface="+mn-lt"/>
          <a:ea typeface="Segoe UI" panose="020B0502040204020203" pitchFamily="34" charset="0"/>
          <a:cs typeface="Segoe UI" panose="020B0502040204020203" pitchFamily="34" charset="0"/>
        </a:defRPr>
      </a:lvl3pPr>
      <a:lvl4pPr marL="1074738" indent="-358775" algn="l" defTabSz="914400" rtl="0" eaLnBrk="1" latinLnBrk="0" hangingPunct="1">
        <a:spcBef>
          <a:spcPts val="600"/>
        </a:spcBef>
        <a:spcAft>
          <a:spcPts val="600"/>
        </a:spcAft>
        <a:buClr>
          <a:schemeClr val="bg1"/>
        </a:buClr>
        <a:buFont typeface="Arial" pitchFamily="34" charset="0"/>
        <a:buChar char="•"/>
        <a:defRPr sz="1600" kern="1200">
          <a:solidFill>
            <a:schemeClr val="bg1"/>
          </a:solidFill>
          <a:latin typeface="+mn-lt"/>
          <a:ea typeface="Segoe UI" panose="020B0502040204020203" pitchFamily="34" charset="0"/>
          <a:cs typeface="Segoe UI" panose="020B0502040204020203" pitchFamily="34" charset="0"/>
        </a:defRPr>
      </a:lvl4pPr>
      <a:lvl5pPr marL="1431925" indent="-357188" algn="l" defTabSz="914400" rtl="0" eaLnBrk="1" latinLnBrk="0" hangingPunct="1">
        <a:spcBef>
          <a:spcPts val="600"/>
        </a:spcBef>
        <a:spcAft>
          <a:spcPts val="600"/>
        </a:spcAft>
        <a:buClr>
          <a:schemeClr val="bg1"/>
        </a:buClr>
        <a:buFont typeface="Arial" pitchFamily="34" charset="0"/>
        <a:buChar char="•"/>
        <a:defRPr sz="1600" kern="1200" baseline="0">
          <a:solidFill>
            <a:schemeClr val="bg1"/>
          </a:solidFill>
          <a:latin typeface="+mn-lt"/>
          <a:ea typeface="Segoe UI" panose="020B0502040204020203" pitchFamily="34" charset="0"/>
          <a:cs typeface="Segoe UI" panose="020B0502040204020203" pitchFamily="34" charset="0"/>
        </a:defRPr>
      </a:lvl5pPr>
      <a:lvl6pPr marL="17028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6pPr>
      <a:lvl7pPr marL="19656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7pPr>
      <a:lvl8pPr marL="22284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8pPr>
      <a:lvl9pPr marL="24912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2"/>
            </p:custDataLst>
            <p:extLst>
              <p:ext uri="{D42A27DB-BD31-4B8C-83A1-F6EECF244321}">
                <p14:modId xmlns:p14="http://schemas.microsoft.com/office/powerpoint/2010/main" val="2914189925"/>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7297"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91"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00077" y="398977"/>
            <a:ext cx="7943846" cy="800867"/>
          </a:xfrm>
          <a:prstGeom prst="rect">
            <a:avLst/>
          </a:prstGeom>
        </p:spPr>
        <p:txBody>
          <a:bodyPr vert="horz" lIns="0" tIns="0" rIns="0" bIns="0" rtlCol="0" anchor="b" anchorCtr="0">
            <a:noAutofit/>
          </a:bodyPr>
          <a:lstStyle/>
          <a:p>
            <a:r>
              <a:rPr lang="en-US" dirty="0"/>
              <a:t>Click to edit Master title style</a:t>
            </a:r>
            <a:endParaRPr lang="en-AU" dirty="0"/>
          </a:p>
        </p:txBody>
      </p:sp>
      <p:sp>
        <p:nvSpPr>
          <p:cNvPr id="9" name="Parallelogram 8"/>
          <p:cNvSpPr/>
          <p:nvPr userDrawn="1"/>
        </p:nvSpPr>
        <p:spPr>
          <a:xfrm>
            <a:off x="593726" y="1364891"/>
            <a:ext cx="720000" cy="60959"/>
          </a:xfrm>
          <a:prstGeom prst="parallelogram">
            <a:avLst>
              <a:gd name="adj" fmla="val 37993"/>
            </a:avLst>
          </a:pr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Text Placeholder 2"/>
          <p:cNvSpPr>
            <a:spLocks noGrp="1"/>
          </p:cNvSpPr>
          <p:nvPr>
            <p:ph type="body" idx="1"/>
          </p:nvPr>
        </p:nvSpPr>
        <p:spPr>
          <a:xfrm>
            <a:off x="593726" y="1827213"/>
            <a:ext cx="7955914" cy="468629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35390932"/>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2" r:id="rId5"/>
    <p:sldLayoutId id="2147484044" r:id="rId6"/>
    <p:sldLayoutId id="2147484047" r:id="rId7"/>
    <p:sldLayoutId id="2147484051" r:id="rId8"/>
    <p:sldLayoutId id="2147484049"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ts val="3200"/>
        </a:lnSpc>
        <a:spcBef>
          <a:spcPct val="0"/>
        </a:spcBef>
        <a:buNone/>
        <a:defRPr sz="2800" b="0" kern="120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p:titleStyle>
    <p:bodyStyle>
      <a:lvl1pPr marL="0" indent="0" algn="l" defTabSz="914400" rtl="0" eaLnBrk="1" latinLnBrk="0" hangingPunct="1">
        <a:spcBef>
          <a:spcPts val="600"/>
        </a:spcBef>
        <a:spcAft>
          <a:spcPts val="600"/>
        </a:spcAft>
        <a:buClr>
          <a:schemeClr val="accent6"/>
        </a:buClr>
        <a:buFont typeface="Wingdings" pitchFamily="2" charset="2"/>
        <a:buNone/>
        <a:defRPr sz="1600" kern="1200">
          <a:solidFill>
            <a:schemeClr val="bg1"/>
          </a:solidFill>
          <a:latin typeface="+mn-lt"/>
          <a:ea typeface="Segoe UI" panose="020B0502040204020203" pitchFamily="34" charset="0"/>
          <a:cs typeface="Segoe UI" panose="020B0502040204020203" pitchFamily="34" charset="0"/>
        </a:defRPr>
      </a:lvl1pPr>
      <a:lvl2pPr marL="358775" indent="-358775" algn="l" defTabSz="914400" rtl="0" eaLnBrk="1" latinLnBrk="0" hangingPunct="1">
        <a:spcBef>
          <a:spcPts val="600"/>
        </a:spcBef>
        <a:spcAft>
          <a:spcPts val="600"/>
        </a:spcAft>
        <a:buClr>
          <a:schemeClr val="bg1"/>
        </a:buClr>
        <a:buFont typeface="Arial" pitchFamily="34" charset="0"/>
        <a:buChar char="•"/>
        <a:defRPr sz="1600" kern="1200">
          <a:solidFill>
            <a:schemeClr val="bg1"/>
          </a:solidFill>
          <a:latin typeface="+mn-lt"/>
          <a:ea typeface="Segoe UI" panose="020B0502040204020203" pitchFamily="34" charset="0"/>
          <a:cs typeface="Segoe UI" panose="020B0502040204020203" pitchFamily="34" charset="0"/>
        </a:defRPr>
      </a:lvl2pPr>
      <a:lvl3pPr marL="715963" indent="-357188" algn="l" defTabSz="914400" rtl="0" eaLnBrk="1" latinLnBrk="0" hangingPunct="1">
        <a:spcBef>
          <a:spcPts val="600"/>
        </a:spcBef>
        <a:spcAft>
          <a:spcPts val="600"/>
        </a:spcAft>
        <a:buClr>
          <a:schemeClr val="bg1"/>
        </a:buClr>
        <a:buFont typeface="Arial" pitchFamily="34" charset="0"/>
        <a:buChar char="•"/>
        <a:tabLst/>
        <a:defRPr sz="1600" kern="1200">
          <a:solidFill>
            <a:schemeClr val="bg1"/>
          </a:solidFill>
          <a:latin typeface="+mn-lt"/>
          <a:ea typeface="Segoe UI" panose="020B0502040204020203" pitchFamily="34" charset="0"/>
          <a:cs typeface="Segoe UI" panose="020B0502040204020203" pitchFamily="34" charset="0"/>
        </a:defRPr>
      </a:lvl3pPr>
      <a:lvl4pPr marL="1074738" indent="-358775" algn="l" defTabSz="914400" rtl="0" eaLnBrk="1" latinLnBrk="0" hangingPunct="1">
        <a:spcBef>
          <a:spcPts val="600"/>
        </a:spcBef>
        <a:spcAft>
          <a:spcPts val="600"/>
        </a:spcAft>
        <a:buClr>
          <a:schemeClr val="bg1"/>
        </a:buClr>
        <a:buFont typeface="Arial" pitchFamily="34" charset="0"/>
        <a:buChar char="•"/>
        <a:defRPr sz="1600" kern="1200">
          <a:solidFill>
            <a:schemeClr val="bg1"/>
          </a:solidFill>
          <a:latin typeface="+mn-lt"/>
          <a:ea typeface="Segoe UI" panose="020B0502040204020203" pitchFamily="34" charset="0"/>
          <a:cs typeface="Segoe UI" panose="020B0502040204020203" pitchFamily="34" charset="0"/>
        </a:defRPr>
      </a:lvl4pPr>
      <a:lvl5pPr marL="1431925" indent="-357188" algn="l" defTabSz="914400" rtl="0" eaLnBrk="1" latinLnBrk="0" hangingPunct="1">
        <a:spcBef>
          <a:spcPts val="600"/>
        </a:spcBef>
        <a:spcAft>
          <a:spcPts val="600"/>
        </a:spcAft>
        <a:buClr>
          <a:schemeClr val="bg1"/>
        </a:buClr>
        <a:buFont typeface="Arial" pitchFamily="34" charset="0"/>
        <a:buChar char="•"/>
        <a:defRPr sz="1600" kern="1200" baseline="0">
          <a:solidFill>
            <a:schemeClr val="bg1"/>
          </a:solidFill>
          <a:latin typeface="+mn-lt"/>
          <a:ea typeface="Segoe UI" panose="020B0502040204020203" pitchFamily="34" charset="0"/>
          <a:cs typeface="Segoe UI" panose="020B0502040204020203" pitchFamily="34" charset="0"/>
        </a:defRPr>
      </a:lvl5pPr>
      <a:lvl6pPr marL="17028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6pPr>
      <a:lvl7pPr marL="19656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7pPr>
      <a:lvl8pPr marL="22284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8pPr>
      <a:lvl9pPr marL="24912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2"/>
            </p:custDataLst>
            <p:extLst>
              <p:ext uri="{D42A27DB-BD31-4B8C-83A1-F6EECF244321}">
                <p14:modId xmlns:p14="http://schemas.microsoft.com/office/powerpoint/2010/main" val="3555104207"/>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8321"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91"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00077" y="398977"/>
            <a:ext cx="7943846" cy="800867"/>
          </a:xfrm>
          <a:prstGeom prst="rect">
            <a:avLst/>
          </a:prstGeom>
        </p:spPr>
        <p:txBody>
          <a:bodyPr vert="horz" lIns="0" tIns="0" rIns="0" bIns="0" rtlCol="0" anchor="b" anchorCtr="0">
            <a:noAutofit/>
          </a:bodyPr>
          <a:lstStyle/>
          <a:p>
            <a:r>
              <a:rPr lang="en-US" dirty="0"/>
              <a:t>Click to edit Master title style</a:t>
            </a:r>
            <a:endParaRPr lang="en-AU" dirty="0"/>
          </a:p>
        </p:txBody>
      </p:sp>
      <p:sp>
        <p:nvSpPr>
          <p:cNvPr id="9" name="Parallelogram 8"/>
          <p:cNvSpPr/>
          <p:nvPr userDrawn="1"/>
        </p:nvSpPr>
        <p:spPr>
          <a:xfrm>
            <a:off x="593726" y="1364891"/>
            <a:ext cx="720000" cy="60959"/>
          </a:xfrm>
          <a:prstGeom prst="parallelogram">
            <a:avLst>
              <a:gd name="adj" fmla="val 37993"/>
            </a:avLst>
          </a:pr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Text Placeholder 2"/>
          <p:cNvSpPr>
            <a:spLocks noGrp="1"/>
          </p:cNvSpPr>
          <p:nvPr>
            <p:ph type="body" idx="1"/>
          </p:nvPr>
        </p:nvSpPr>
        <p:spPr>
          <a:xfrm>
            <a:off x="593726" y="1827213"/>
            <a:ext cx="7955914" cy="468629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45777783"/>
      </p:ext>
    </p:extLst>
  </p:cSld>
  <p:clrMap bg1="lt1" tx1="dk1" bg2="lt2" tx2="dk2" accent1="accent1" accent2="accent2" accent3="accent3" accent4="accent4" accent5="accent5" accent6="accent6" hlink="hlink" folHlink="folHlink"/>
  <p:sldLayoutIdLst>
    <p:sldLayoutId id="2147484053" r:id="rId1"/>
    <p:sldLayoutId id="2147484054" r:id="rId2"/>
    <p:sldLayoutId id="2147484055" r:id="rId3"/>
    <p:sldLayoutId id="2147484056" r:id="rId4"/>
    <p:sldLayoutId id="2147484057" r:id="rId5"/>
    <p:sldLayoutId id="2147484058" r:id="rId6"/>
    <p:sldLayoutId id="2147484059" r:id="rId7"/>
    <p:sldLayoutId id="2147484061" r:id="rId8"/>
    <p:sldLayoutId id="2147484060"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ts val="3200"/>
        </a:lnSpc>
        <a:spcBef>
          <a:spcPct val="0"/>
        </a:spcBef>
        <a:buNone/>
        <a:defRPr sz="2800" b="0" kern="1200">
          <a:solidFill>
            <a:schemeClr val="bg1"/>
          </a:solidFill>
          <a:latin typeface="Segoe UI Light" panose="020B0502040204020203" pitchFamily="34" charset="0"/>
          <a:ea typeface="Segoe UI" panose="020B0502040204020203" pitchFamily="34" charset="0"/>
          <a:cs typeface="Segoe UI" panose="020B0502040204020203" pitchFamily="34" charset="0"/>
        </a:defRPr>
      </a:lvl1pPr>
    </p:titleStyle>
    <p:bodyStyle>
      <a:lvl1pPr marL="0" indent="0" algn="l" defTabSz="914400" rtl="0" eaLnBrk="1" latinLnBrk="0" hangingPunct="1">
        <a:spcBef>
          <a:spcPts val="600"/>
        </a:spcBef>
        <a:spcAft>
          <a:spcPts val="600"/>
        </a:spcAft>
        <a:buClr>
          <a:schemeClr val="accent6"/>
        </a:buClr>
        <a:buFont typeface="Wingdings" pitchFamily="2" charset="2"/>
        <a:buNone/>
        <a:defRPr sz="1600" kern="1200">
          <a:solidFill>
            <a:schemeClr val="bg1"/>
          </a:solidFill>
          <a:latin typeface="+mn-lt"/>
          <a:ea typeface="Segoe UI" panose="020B0502040204020203" pitchFamily="34" charset="0"/>
          <a:cs typeface="Segoe UI" panose="020B0502040204020203" pitchFamily="34" charset="0"/>
        </a:defRPr>
      </a:lvl1pPr>
      <a:lvl2pPr marL="358775" indent="-358775" algn="l" defTabSz="914400" rtl="0" eaLnBrk="1" latinLnBrk="0" hangingPunct="1">
        <a:spcBef>
          <a:spcPts val="600"/>
        </a:spcBef>
        <a:spcAft>
          <a:spcPts val="600"/>
        </a:spcAft>
        <a:buClr>
          <a:schemeClr val="bg1"/>
        </a:buClr>
        <a:buFont typeface="Arial" pitchFamily="34" charset="0"/>
        <a:buChar char="•"/>
        <a:defRPr sz="1600" kern="1200">
          <a:solidFill>
            <a:schemeClr val="bg1"/>
          </a:solidFill>
          <a:latin typeface="+mn-lt"/>
          <a:ea typeface="Segoe UI" panose="020B0502040204020203" pitchFamily="34" charset="0"/>
          <a:cs typeface="Segoe UI" panose="020B0502040204020203" pitchFamily="34" charset="0"/>
        </a:defRPr>
      </a:lvl2pPr>
      <a:lvl3pPr marL="715963" indent="-357188" algn="l" defTabSz="914400" rtl="0" eaLnBrk="1" latinLnBrk="0" hangingPunct="1">
        <a:spcBef>
          <a:spcPts val="600"/>
        </a:spcBef>
        <a:spcAft>
          <a:spcPts val="600"/>
        </a:spcAft>
        <a:buClr>
          <a:schemeClr val="bg1"/>
        </a:buClr>
        <a:buFont typeface="Arial" pitchFamily="34" charset="0"/>
        <a:buChar char="•"/>
        <a:tabLst/>
        <a:defRPr sz="1600" kern="1200">
          <a:solidFill>
            <a:schemeClr val="bg1"/>
          </a:solidFill>
          <a:latin typeface="+mn-lt"/>
          <a:ea typeface="Segoe UI" panose="020B0502040204020203" pitchFamily="34" charset="0"/>
          <a:cs typeface="Segoe UI" panose="020B0502040204020203" pitchFamily="34" charset="0"/>
        </a:defRPr>
      </a:lvl3pPr>
      <a:lvl4pPr marL="1074738" indent="-358775" algn="l" defTabSz="914400" rtl="0" eaLnBrk="1" latinLnBrk="0" hangingPunct="1">
        <a:spcBef>
          <a:spcPts val="600"/>
        </a:spcBef>
        <a:spcAft>
          <a:spcPts val="600"/>
        </a:spcAft>
        <a:buClr>
          <a:schemeClr val="bg1"/>
        </a:buClr>
        <a:buFont typeface="Arial" pitchFamily="34" charset="0"/>
        <a:buChar char="•"/>
        <a:defRPr sz="1600" kern="1200">
          <a:solidFill>
            <a:schemeClr val="bg1"/>
          </a:solidFill>
          <a:latin typeface="+mn-lt"/>
          <a:ea typeface="Segoe UI" panose="020B0502040204020203" pitchFamily="34" charset="0"/>
          <a:cs typeface="Segoe UI" panose="020B0502040204020203" pitchFamily="34" charset="0"/>
        </a:defRPr>
      </a:lvl4pPr>
      <a:lvl5pPr marL="1431925" indent="-357188" algn="l" defTabSz="914400" rtl="0" eaLnBrk="1" latinLnBrk="0" hangingPunct="1">
        <a:spcBef>
          <a:spcPts val="600"/>
        </a:spcBef>
        <a:spcAft>
          <a:spcPts val="600"/>
        </a:spcAft>
        <a:buClr>
          <a:schemeClr val="bg1"/>
        </a:buClr>
        <a:buFont typeface="Arial" pitchFamily="34" charset="0"/>
        <a:buChar char="•"/>
        <a:defRPr sz="1600" kern="1200" baseline="0">
          <a:solidFill>
            <a:schemeClr val="bg1"/>
          </a:solidFill>
          <a:latin typeface="+mn-lt"/>
          <a:ea typeface="Segoe UI" panose="020B0502040204020203" pitchFamily="34" charset="0"/>
          <a:cs typeface="Segoe UI" panose="020B0502040204020203" pitchFamily="34" charset="0"/>
        </a:defRPr>
      </a:lvl5pPr>
      <a:lvl6pPr marL="17028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6pPr>
      <a:lvl7pPr marL="19656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7pPr>
      <a:lvl8pPr marL="22284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8pPr>
      <a:lvl9pPr marL="24912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9"/>
            </p:custDataLs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11314" name="think-cell Slide" r:id="rId40" imgW="270" imgH="270" progId="TCLayout.ActiveDocument.1">
                  <p:embed/>
                </p:oleObj>
              </mc:Choice>
              <mc:Fallback>
                <p:oleObj name="think-cell Slide" r:id="rId40" imgW="270" imgH="270" progId="TCLayout.ActiveDocument.1">
                  <p:embed/>
                  <p:pic>
                    <p:nvPicPr>
                      <p:cNvPr id="5" name="Object 4" hidden="1"/>
                      <p:cNvPicPr/>
                      <p:nvPr/>
                    </p:nvPicPr>
                    <p:blipFill>
                      <a:blip r:embed="rId41"/>
                      <a:stretch>
                        <a:fillRect/>
                      </a:stretch>
                    </p:blipFill>
                    <p:spPr>
                      <a:xfrm>
                        <a:off x="1591"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00077" y="398977"/>
            <a:ext cx="7943846" cy="800867"/>
          </a:xfrm>
          <a:prstGeom prst="rect">
            <a:avLst/>
          </a:prstGeom>
        </p:spPr>
        <p:txBody>
          <a:bodyPr vert="horz" lIns="0" tIns="0" rIns="0" bIns="0" rtlCol="0" anchor="b" anchorCtr="0">
            <a:noAutofit/>
          </a:bodyPr>
          <a:lstStyle/>
          <a:p>
            <a:r>
              <a:rPr lang="en-US" dirty="0"/>
              <a:t>Click to edit Master title style</a:t>
            </a:r>
            <a:endParaRPr lang="en-AU" dirty="0"/>
          </a:p>
        </p:txBody>
      </p:sp>
      <p:sp>
        <p:nvSpPr>
          <p:cNvPr id="9" name="Parallelogram 8"/>
          <p:cNvSpPr/>
          <p:nvPr userDrawn="1"/>
        </p:nvSpPr>
        <p:spPr>
          <a:xfrm>
            <a:off x="593726" y="1364894"/>
            <a:ext cx="720000" cy="60959"/>
          </a:xfrm>
          <a:prstGeom prst="parallelogram">
            <a:avLst>
              <a:gd name="adj" fmla="val 37993"/>
            </a:avLst>
          </a:pr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Tree>
    <p:extLst>
      <p:ext uri="{BB962C8B-B14F-4D97-AF65-F5344CB8AC3E}">
        <p14:creationId xmlns:p14="http://schemas.microsoft.com/office/powerpoint/2010/main" val="113023464"/>
      </p:ext>
    </p:extLst>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 id="2147484078" r:id="rId11"/>
    <p:sldLayoutId id="2147484079" r:id="rId12"/>
    <p:sldLayoutId id="2147484080" r:id="rId13"/>
    <p:sldLayoutId id="2147484081" r:id="rId14"/>
    <p:sldLayoutId id="2147484082" r:id="rId15"/>
    <p:sldLayoutId id="2147484083" r:id="rId16"/>
    <p:sldLayoutId id="2147484085" r:id="rId17"/>
    <p:sldLayoutId id="2147484086" r:id="rId18"/>
    <p:sldLayoutId id="2147484087" r:id="rId19"/>
    <p:sldLayoutId id="2147484088" r:id="rId20"/>
    <p:sldLayoutId id="2147484090" r:id="rId21"/>
    <p:sldLayoutId id="2147484091" r:id="rId22"/>
    <p:sldLayoutId id="2147484092" r:id="rId23"/>
    <p:sldLayoutId id="2147484093" r:id="rId24"/>
    <p:sldLayoutId id="2147484094" r:id="rId25"/>
    <p:sldLayoutId id="2147484095" r:id="rId26"/>
    <p:sldLayoutId id="2147484096" r:id="rId27"/>
    <p:sldLayoutId id="2147484097" r:id="rId28"/>
    <p:sldLayoutId id="2147484098" r:id="rId29"/>
    <p:sldLayoutId id="2147484099" r:id="rId30"/>
    <p:sldLayoutId id="2147484100" r:id="rId31"/>
    <p:sldLayoutId id="2147484101" r:id="rId32"/>
    <p:sldLayoutId id="2147484102" r:id="rId33"/>
    <p:sldLayoutId id="2147484105" r:id="rId34"/>
    <p:sldLayoutId id="2147484106" r:id="rId35"/>
    <p:sldLayoutId id="2147484107" r:id="rId36"/>
  </p:sldLayoutIdLst>
  <mc:AlternateContent xmlns:mc="http://schemas.openxmlformats.org/markup-compatibility/2006" xmlns:p14="http://schemas.microsoft.com/office/powerpoint/2010/main">
    <mc:Choice Requires="p14">
      <p:transition spd="slow" p14:dur="2500" advTm="8000">
        <p:fade/>
      </p:transition>
    </mc:Choice>
    <mc:Fallback xmlns="">
      <p:transition spd="slow" advTm="8000">
        <p:fade/>
      </p:transition>
    </mc:Fallback>
  </mc:AlternateContent>
  <p:hf hdr="0" dt="0"/>
  <p:txStyles>
    <p:titleStyle>
      <a:lvl1pPr algn="l" defTabSz="914400" rtl="0" eaLnBrk="1" latinLnBrk="0" hangingPunct="1">
        <a:lnSpc>
          <a:spcPts val="3200"/>
        </a:lnSpc>
        <a:spcBef>
          <a:spcPct val="0"/>
        </a:spcBef>
        <a:buNone/>
        <a:defRPr sz="2800" b="0" kern="1200">
          <a:solidFill>
            <a:srgbClr val="162934"/>
          </a:solidFill>
          <a:latin typeface="Segoe UI Light" panose="020B0502040204020203" pitchFamily="34" charset="0"/>
          <a:ea typeface="Segoe UI" panose="020B0502040204020203" pitchFamily="34" charset="0"/>
          <a:cs typeface="Segoe UI" panose="020B0502040204020203" pitchFamily="34" charset="0"/>
        </a:defRPr>
      </a:lvl1pPr>
    </p:titleStyle>
    <p:bodyStyle>
      <a:lvl1pPr marL="0" indent="0" algn="l" defTabSz="914400" rtl="0" eaLnBrk="1" latinLnBrk="0" hangingPunct="1">
        <a:spcBef>
          <a:spcPts val="600"/>
        </a:spcBef>
        <a:spcAft>
          <a:spcPts val="600"/>
        </a:spcAft>
        <a:buClr>
          <a:schemeClr val="accent6"/>
        </a:buClr>
        <a:buFont typeface="Wingdings" pitchFamily="2" charset="2"/>
        <a:buNone/>
        <a:defRPr sz="1600" kern="1200">
          <a:solidFill>
            <a:schemeClr val="tx1"/>
          </a:solidFill>
          <a:latin typeface="+mn-lt"/>
          <a:ea typeface="Segoe UI" panose="020B0502040204020203" pitchFamily="34" charset="0"/>
          <a:cs typeface="Segoe UI" panose="020B0502040204020203" pitchFamily="34" charset="0"/>
        </a:defRPr>
      </a:lvl1pPr>
      <a:lvl2pPr marL="358775" indent="-358775" algn="l" defTabSz="914400" rtl="0" eaLnBrk="1" latinLnBrk="0" hangingPunct="1">
        <a:spcBef>
          <a:spcPts val="600"/>
        </a:spcBef>
        <a:spcAft>
          <a:spcPts val="600"/>
        </a:spcAft>
        <a:buClr>
          <a:schemeClr val="tx2"/>
        </a:buClr>
        <a:buFont typeface="Arial" pitchFamily="34" charset="0"/>
        <a:buChar char="•"/>
        <a:defRPr sz="1600" kern="1200">
          <a:solidFill>
            <a:schemeClr val="tx1"/>
          </a:solidFill>
          <a:latin typeface="+mn-lt"/>
          <a:ea typeface="Segoe UI" panose="020B0502040204020203" pitchFamily="34" charset="0"/>
          <a:cs typeface="Segoe UI" panose="020B0502040204020203" pitchFamily="34" charset="0"/>
        </a:defRPr>
      </a:lvl2pPr>
      <a:lvl3pPr marL="715963" indent="-357188" algn="l" defTabSz="914400" rtl="0" eaLnBrk="1" latinLnBrk="0" hangingPunct="1">
        <a:spcBef>
          <a:spcPts val="600"/>
        </a:spcBef>
        <a:spcAft>
          <a:spcPts val="600"/>
        </a:spcAft>
        <a:buClr>
          <a:schemeClr val="tx2"/>
        </a:buClr>
        <a:buFont typeface="Arial" pitchFamily="34" charset="0"/>
        <a:buChar char="•"/>
        <a:tabLst/>
        <a:defRPr sz="1600" kern="1200">
          <a:solidFill>
            <a:schemeClr val="tx1"/>
          </a:solidFill>
          <a:latin typeface="+mn-lt"/>
          <a:ea typeface="Segoe UI" panose="020B0502040204020203" pitchFamily="34" charset="0"/>
          <a:cs typeface="Segoe UI" panose="020B0502040204020203" pitchFamily="34" charset="0"/>
        </a:defRPr>
      </a:lvl3pPr>
      <a:lvl4pPr marL="1074738" indent="-358775" algn="l" defTabSz="914400" rtl="0" eaLnBrk="1" latinLnBrk="0" hangingPunct="1">
        <a:spcBef>
          <a:spcPts val="600"/>
        </a:spcBef>
        <a:spcAft>
          <a:spcPts val="600"/>
        </a:spcAft>
        <a:buClr>
          <a:schemeClr val="tx2"/>
        </a:buClr>
        <a:buFont typeface="Arial" pitchFamily="34" charset="0"/>
        <a:buChar char="•"/>
        <a:defRPr sz="1600" kern="1200">
          <a:solidFill>
            <a:schemeClr val="tx1"/>
          </a:solidFill>
          <a:latin typeface="+mn-lt"/>
          <a:ea typeface="Segoe UI" panose="020B0502040204020203" pitchFamily="34" charset="0"/>
          <a:cs typeface="Segoe UI" panose="020B0502040204020203" pitchFamily="34" charset="0"/>
        </a:defRPr>
      </a:lvl4pPr>
      <a:lvl5pPr marL="1431925" indent="-357188" algn="l" defTabSz="914400" rtl="0" eaLnBrk="1" latinLnBrk="0" hangingPunct="1">
        <a:spcBef>
          <a:spcPts val="600"/>
        </a:spcBef>
        <a:spcAft>
          <a:spcPts val="600"/>
        </a:spcAft>
        <a:buClr>
          <a:schemeClr val="tx2"/>
        </a:buClr>
        <a:buFont typeface="Arial" pitchFamily="34" charset="0"/>
        <a:buChar char="•"/>
        <a:defRPr sz="1600" kern="1200" baseline="0">
          <a:solidFill>
            <a:schemeClr val="tx1"/>
          </a:solidFill>
          <a:latin typeface="+mn-lt"/>
          <a:ea typeface="Segoe UI" panose="020B0502040204020203" pitchFamily="34" charset="0"/>
          <a:cs typeface="Segoe UI" panose="020B0502040204020203" pitchFamily="34" charset="0"/>
        </a:defRPr>
      </a:lvl5pPr>
      <a:lvl6pPr marL="17028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6pPr>
      <a:lvl7pPr marL="19656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7pPr>
      <a:lvl8pPr marL="22284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8pPr>
      <a:lvl9pPr marL="24912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1"/>
            </p:custDataLs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15384" name="think-cell Slide" r:id="rId32" imgW="270" imgH="270" progId="TCLayout.ActiveDocument.1">
                  <p:embed/>
                </p:oleObj>
              </mc:Choice>
              <mc:Fallback>
                <p:oleObj name="think-cell Slide" r:id="rId32" imgW="270" imgH="270" progId="TCLayout.ActiveDocument.1">
                  <p:embed/>
                  <p:pic>
                    <p:nvPicPr>
                      <p:cNvPr id="5" name="Object 4" hidden="1"/>
                      <p:cNvPicPr/>
                      <p:nvPr/>
                    </p:nvPicPr>
                    <p:blipFill>
                      <a:blip r:embed="rId33"/>
                      <a:stretch>
                        <a:fillRect/>
                      </a:stretch>
                    </p:blipFill>
                    <p:spPr>
                      <a:xfrm>
                        <a:off x="1591"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00077" y="398977"/>
            <a:ext cx="7943846" cy="800867"/>
          </a:xfrm>
          <a:prstGeom prst="rect">
            <a:avLst/>
          </a:prstGeom>
        </p:spPr>
        <p:txBody>
          <a:bodyPr vert="horz" lIns="0" tIns="0" rIns="0" bIns="0" rtlCol="0" anchor="b" anchorCtr="0">
            <a:noAutofit/>
          </a:bodyPr>
          <a:lstStyle/>
          <a:p>
            <a:r>
              <a:rPr lang="en-US" dirty="0"/>
              <a:t>Click to edit Master title style</a:t>
            </a:r>
            <a:endParaRPr lang="en-AU" dirty="0"/>
          </a:p>
        </p:txBody>
      </p:sp>
      <p:sp>
        <p:nvSpPr>
          <p:cNvPr id="9" name="Parallelogram 8"/>
          <p:cNvSpPr/>
          <p:nvPr userDrawn="1"/>
        </p:nvSpPr>
        <p:spPr>
          <a:xfrm>
            <a:off x="593726" y="1364891"/>
            <a:ext cx="720000" cy="60959"/>
          </a:xfrm>
          <a:prstGeom prst="parallelogram">
            <a:avLst>
              <a:gd name="adj" fmla="val 37993"/>
            </a:avLst>
          </a:prstGeom>
          <a:solidFill>
            <a:srgbClr val="A49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Text Placeholder 2"/>
          <p:cNvSpPr>
            <a:spLocks noGrp="1"/>
          </p:cNvSpPr>
          <p:nvPr>
            <p:ph type="body" idx="1"/>
          </p:nvPr>
        </p:nvSpPr>
        <p:spPr>
          <a:xfrm>
            <a:off x="593726" y="1827213"/>
            <a:ext cx="7955914" cy="46862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3"/>
          </p:nvPr>
        </p:nvSpPr>
        <p:spPr>
          <a:xfrm>
            <a:off x="593726" y="6551612"/>
            <a:ext cx="7946387" cy="207963"/>
          </a:xfrm>
          <a:prstGeom prst="rect">
            <a:avLst/>
          </a:prstGeom>
        </p:spPr>
        <p:txBody>
          <a:bodyPr vert="horz" lIns="91440" tIns="45720" rIns="0" bIns="45720" rtlCol="0" anchor="ctr"/>
          <a:lstStyle>
            <a:lvl1pPr algn="r">
              <a:defRPr sz="800">
                <a:solidFill>
                  <a:schemeClr val="bg2"/>
                </a:solidFill>
              </a:defRPr>
            </a:lvl1pPr>
          </a:lstStyle>
          <a:p>
            <a:r>
              <a:rPr lang="en-US"/>
              <a:t>Timesaver Template</a:t>
            </a:r>
          </a:p>
        </p:txBody>
      </p:sp>
      <p:sp>
        <p:nvSpPr>
          <p:cNvPr id="6" name="Slide Number Placeholder 5"/>
          <p:cNvSpPr>
            <a:spLocks noGrp="1"/>
          </p:cNvSpPr>
          <p:nvPr>
            <p:ph type="sldNum" sz="quarter" idx="4"/>
          </p:nvPr>
        </p:nvSpPr>
        <p:spPr>
          <a:xfrm>
            <a:off x="8618220" y="6551612"/>
            <a:ext cx="464820" cy="207963"/>
          </a:xfrm>
          <a:prstGeom prst="rect">
            <a:avLst/>
          </a:prstGeom>
        </p:spPr>
        <p:txBody>
          <a:bodyPr vert="horz" lIns="91440" tIns="45720" rIns="91440" bIns="45720" rtlCol="0" anchor="ctr"/>
          <a:lstStyle>
            <a:lvl1pPr algn="l">
              <a:defRPr sz="800">
                <a:solidFill>
                  <a:schemeClr val="bg2"/>
                </a:solidFill>
              </a:defRPr>
            </a:lvl1pPr>
          </a:lstStyle>
          <a:p>
            <a:fld id="{92D0FD2A-77A2-4D72-8810-21B59CAC11F0}" type="slidenum">
              <a:rPr lang="en-US" smtClean="0"/>
              <a:pPr/>
              <a:t>‹#›</a:t>
            </a:fld>
            <a:endParaRPr lang="en-US"/>
          </a:p>
        </p:txBody>
      </p:sp>
    </p:spTree>
    <p:extLst>
      <p:ext uri="{BB962C8B-B14F-4D97-AF65-F5344CB8AC3E}">
        <p14:creationId xmlns:p14="http://schemas.microsoft.com/office/powerpoint/2010/main" val="1324073639"/>
      </p:ext>
    </p:extLst>
  </p:cSld>
  <p:clrMap bg1="lt1" tx1="dk1" bg2="lt2" tx2="dk2" accent1="accent1" accent2="accent2" accent3="accent3" accent4="accent4" accent5="accent5" accent6="accent6" hlink="hlink" folHlink="folHlink"/>
  <p:sldLayoutIdLst>
    <p:sldLayoutId id="2147484115" r:id="rId1"/>
    <p:sldLayoutId id="2147484116" r:id="rId2"/>
    <p:sldLayoutId id="2147484117" r:id="rId3"/>
    <p:sldLayoutId id="2147484118" r:id="rId4"/>
    <p:sldLayoutId id="2147484119" r:id="rId5"/>
    <p:sldLayoutId id="2147484120" r:id="rId6"/>
    <p:sldLayoutId id="2147484121" r:id="rId7"/>
    <p:sldLayoutId id="2147484122" r:id="rId8"/>
    <p:sldLayoutId id="2147484123" r:id="rId9"/>
    <p:sldLayoutId id="2147484124" r:id="rId10"/>
    <p:sldLayoutId id="2147484125" r:id="rId11"/>
    <p:sldLayoutId id="2147484126" r:id="rId12"/>
    <p:sldLayoutId id="2147484127" r:id="rId13"/>
    <p:sldLayoutId id="2147484128" r:id="rId14"/>
    <p:sldLayoutId id="2147484129" r:id="rId15"/>
    <p:sldLayoutId id="2147484130" r:id="rId16"/>
    <p:sldLayoutId id="2147484131" r:id="rId17"/>
    <p:sldLayoutId id="2147484132" r:id="rId18"/>
    <p:sldLayoutId id="2147484133" r:id="rId19"/>
    <p:sldLayoutId id="2147484134" r:id="rId20"/>
    <p:sldLayoutId id="2147484135" r:id="rId21"/>
    <p:sldLayoutId id="2147484136" r:id="rId22"/>
    <p:sldLayoutId id="2147484137" r:id="rId23"/>
    <p:sldLayoutId id="2147484138" r:id="rId24"/>
    <p:sldLayoutId id="2147484139" r:id="rId25"/>
    <p:sldLayoutId id="2147484141" r:id="rId26"/>
    <p:sldLayoutId id="2147484143" r:id="rId27"/>
    <p:sldLayoutId id="2147484145"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ts val="3200"/>
        </a:lnSpc>
        <a:spcBef>
          <a:spcPct val="0"/>
        </a:spcBef>
        <a:buNone/>
        <a:defRPr sz="2800" b="0" kern="1200">
          <a:solidFill>
            <a:srgbClr val="162934"/>
          </a:solidFill>
          <a:latin typeface="Segoe UI Light" panose="020B0502040204020203" pitchFamily="34" charset="0"/>
          <a:ea typeface="Segoe UI" panose="020B0502040204020203" pitchFamily="34" charset="0"/>
          <a:cs typeface="Segoe UI" panose="020B0502040204020203" pitchFamily="34" charset="0"/>
        </a:defRPr>
      </a:lvl1pPr>
    </p:titleStyle>
    <p:bodyStyle>
      <a:lvl1pPr marL="0" indent="0" algn="l" defTabSz="914400" rtl="0" eaLnBrk="1" latinLnBrk="0" hangingPunct="1">
        <a:spcBef>
          <a:spcPts val="600"/>
        </a:spcBef>
        <a:spcAft>
          <a:spcPts val="600"/>
        </a:spcAft>
        <a:buClr>
          <a:schemeClr val="accent6"/>
        </a:buClr>
        <a:buFont typeface="Wingdings" pitchFamily="2" charset="2"/>
        <a:buNone/>
        <a:defRPr sz="1600" kern="1200">
          <a:solidFill>
            <a:schemeClr val="tx1"/>
          </a:solidFill>
          <a:latin typeface="+mn-lt"/>
          <a:ea typeface="Segoe UI" panose="020B0502040204020203" pitchFamily="34" charset="0"/>
          <a:cs typeface="Segoe UI" panose="020B0502040204020203" pitchFamily="34" charset="0"/>
        </a:defRPr>
      </a:lvl1pPr>
      <a:lvl2pPr marL="358775" indent="-358775" algn="l" defTabSz="914400" rtl="0" eaLnBrk="1" latinLnBrk="0" hangingPunct="1">
        <a:spcBef>
          <a:spcPts val="600"/>
        </a:spcBef>
        <a:spcAft>
          <a:spcPts val="600"/>
        </a:spcAft>
        <a:buClr>
          <a:schemeClr val="tx2"/>
        </a:buClr>
        <a:buFont typeface="Arial" pitchFamily="34" charset="0"/>
        <a:buChar char="•"/>
        <a:defRPr sz="1600" kern="1200">
          <a:solidFill>
            <a:schemeClr val="tx1"/>
          </a:solidFill>
          <a:latin typeface="+mn-lt"/>
          <a:ea typeface="Segoe UI" panose="020B0502040204020203" pitchFamily="34" charset="0"/>
          <a:cs typeface="Segoe UI" panose="020B0502040204020203" pitchFamily="34" charset="0"/>
        </a:defRPr>
      </a:lvl2pPr>
      <a:lvl3pPr marL="715963" indent="-357188" algn="l" defTabSz="914400" rtl="0" eaLnBrk="1" latinLnBrk="0" hangingPunct="1">
        <a:spcBef>
          <a:spcPts val="600"/>
        </a:spcBef>
        <a:spcAft>
          <a:spcPts val="600"/>
        </a:spcAft>
        <a:buClr>
          <a:schemeClr val="tx2"/>
        </a:buClr>
        <a:buFont typeface="Arial" pitchFamily="34" charset="0"/>
        <a:buChar char="•"/>
        <a:tabLst/>
        <a:defRPr sz="1600" kern="1200">
          <a:solidFill>
            <a:schemeClr val="tx1"/>
          </a:solidFill>
          <a:latin typeface="+mn-lt"/>
          <a:ea typeface="Segoe UI" panose="020B0502040204020203" pitchFamily="34" charset="0"/>
          <a:cs typeface="Segoe UI" panose="020B0502040204020203" pitchFamily="34" charset="0"/>
        </a:defRPr>
      </a:lvl3pPr>
      <a:lvl4pPr marL="1074738" indent="-358775" algn="l" defTabSz="914400" rtl="0" eaLnBrk="1" latinLnBrk="0" hangingPunct="1">
        <a:spcBef>
          <a:spcPts val="600"/>
        </a:spcBef>
        <a:spcAft>
          <a:spcPts val="600"/>
        </a:spcAft>
        <a:buClr>
          <a:schemeClr val="tx2"/>
        </a:buClr>
        <a:buFont typeface="Arial" pitchFamily="34" charset="0"/>
        <a:buChar char="•"/>
        <a:defRPr sz="1600" kern="1200">
          <a:solidFill>
            <a:schemeClr val="tx1"/>
          </a:solidFill>
          <a:latin typeface="+mn-lt"/>
          <a:ea typeface="Segoe UI" panose="020B0502040204020203" pitchFamily="34" charset="0"/>
          <a:cs typeface="Segoe UI" panose="020B0502040204020203" pitchFamily="34" charset="0"/>
        </a:defRPr>
      </a:lvl4pPr>
      <a:lvl5pPr marL="1431925" indent="-357188" algn="l" defTabSz="914400" rtl="0" eaLnBrk="1" latinLnBrk="0" hangingPunct="1">
        <a:spcBef>
          <a:spcPts val="600"/>
        </a:spcBef>
        <a:spcAft>
          <a:spcPts val="600"/>
        </a:spcAft>
        <a:buClr>
          <a:schemeClr val="tx2"/>
        </a:buClr>
        <a:buFont typeface="Arial" pitchFamily="34" charset="0"/>
        <a:buChar char="•"/>
        <a:defRPr sz="1600" kern="1200" baseline="0">
          <a:solidFill>
            <a:schemeClr val="tx1"/>
          </a:solidFill>
          <a:latin typeface="+mn-lt"/>
          <a:ea typeface="Segoe UI" panose="020B0502040204020203" pitchFamily="34" charset="0"/>
          <a:cs typeface="Segoe UI" panose="020B0502040204020203" pitchFamily="34" charset="0"/>
        </a:defRPr>
      </a:lvl5pPr>
      <a:lvl6pPr marL="17028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6pPr>
      <a:lvl7pPr marL="19656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7pPr>
      <a:lvl8pPr marL="22284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8pPr>
      <a:lvl9pPr marL="24912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While NY is leading the way, reconciliation and alignment is needed across all the climate </a:t>
            </a:r>
            <a:r>
              <a:rPr lang="en-AU" dirty="0" err="1"/>
              <a:t>intiatives</a:t>
            </a:r>
            <a:endParaRPr lang="en-AU" dirty="0"/>
          </a:p>
        </p:txBody>
      </p:sp>
      <p:sp>
        <p:nvSpPr>
          <p:cNvPr id="9" name="Rectangle 8">
            <a:extLst>
              <a:ext uri="{FF2B5EF4-FFF2-40B4-BE49-F238E27FC236}">
                <a16:creationId xmlns:a16="http://schemas.microsoft.com/office/drawing/2014/main" id="{C54FAE21-7A7B-4E9A-B81B-B5D64C7B20A4}"/>
              </a:ext>
            </a:extLst>
          </p:cNvPr>
          <p:cNvSpPr/>
          <p:nvPr/>
        </p:nvSpPr>
        <p:spPr>
          <a:xfrm>
            <a:off x="399969" y="2437464"/>
            <a:ext cx="1717964" cy="6234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Situation</a:t>
            </a:r>
          </a:p>
        </p:txBody>
      </p:sp>
      <p:sp>
        <p:nvSpPr>
          <p:cNvPr id="10" name="Rectangle 9">
            <a:extLst>
              <a:ext uri="{FF2B5EF4-FFF2-40B4-BE49-F238E27FC236}">
                <a16:creationId xmlns:a16="http://schemas.microsoft.com/office/drawing/2014/main" id="{96E75839-8CD0-40F6-9922-5C78EDA2868F}"/>
              </a:ext>
            </a:extLst>
          </p:cNvPr>
          <p:cNvSpPr/>
          <p:nvPr/>
        </p:nvSpPr>
        <p:spPr>
          <a:xfrm>
            <a:off x="399969" y="4387947"/>
            <a:ext cx="1717964" cy="6234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mpacts</a:t>
            </a:r>
          </a:p>
        </p:txBody>
      </p:sp>
      <p:sp>
        <p:nvSpPr>
          <p:cNvPr id="12" name="Rectangle 11">
            <a:extLst>
              <a:ext uri="{FF2B5EF4-FFF2-40B4-BE49-F238E27FC236}">
                <a16:creationId xmlns:a16="http://schemas.microsoft.com/office/drawing/2014/main" id="{33AC468E-254A-4782-894D-862610999215}"/>
              </a:ext>
            </a:extLst>
          </p:cNvPr>
          <p:cNvSpPr/>
          <p:nvPr/>
        </p:nvSpPr>
        <p:spPr>
          <a:xfrm>
            <a:off x="399969" y="5861911"/>
            <a:ext cx="1717964" cy="6234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all to Action</a:t>
            </a:r>
          </a:p>
        </p:txBody>
      </p:sp>
      <p:sp>
        <p:nvSpPr>
          <p:cNvPr id="14" name="TextBox 13">
            <a:extLst>
              <a:ext uri="{FF2B5EF4-FFF2-40B4-BE49-F238E27FC236}">
                <a16:creationId xmlns:a16="http://schemas.microsoft.com/office/drawing/2014/main" id="{A6C94DAD-E0B4-4003-B3BF-229A2211DF75}"/>
              </a:ext>
            </a:extLst>
          </p:cNvPr>
          <p:cNvSpPr txBox="1"/>
          <p:nvPr/>
        </p:nvSpPr>
        <p:spPr>
          <a:xfrm>
            <a:off x="2507906" y="1841250"/>
            <a:ext cx="6454750" cy="1815882"/>
          </a:xfrm>
          <a:prstGeom prst="rect">
            <a:avLst/>
          </a:prstGeom>
          <a:noFill/>
          <a:ln>
            <a:solidFill>
              <a:schemeClr val="bg2"/>
            </a:solidFill>
          </a:ln>
        </p:spPr>
        <p:txBody>
          <a:bodyPr wrap="square" rtlCol="0">
            <a:spAutoFit/>
          </a:bodyPr>
          <a:lstStyle/>
          <a:p>
            <a:pPr marL="285750" indent="-285750">
              <a:buFont typeface="Arial" panose="020B0604020202020204" pitchFamily="34" charset="0"/>
              <a:buChar char="•"/>
            </a:pPr>
            <a:r>
              <a:rPr lang="en-US" sz="1400" dirty="0"/>
              <a:t>New York State and New York City have passed a variety of climate and renewable energy laws and regulations. The timing and unintended consequences have the potential to negatively impact climate goals by making the perfect the enemy of the good</a:t>
            </a:r>
          </a:p>
          <a:p>
            <a:pPr marL="285750" indent="-285750">
              <a:buFont typeface="Arial" panose="020B0604020202020204" pitchFamily="34" charset="0"/>
              <a:buChar char="•"/>
            </a:pPr>
            <a:r>
              <a:rPr lang="en-US" sz="1400" dirty="0"/>
              <a:t>NYC Local Law 97- 2030 building reduce by 40%</a:t>
            </a:r>
          </a:p>
          <a:p>
            <a:pPr marL="285750" indent="-285750">
              <a:buFont typeface="Arial" panose="020B0604020202020204" pitchFamily="34" charset="0"/>
              <a:buChar char="•"/>
            </a:pPr>
            <a:r>
              <a:rPr lang="en-US" sz="1400" dirty="0"/>
              <a:t>Climate Leadership and Community Protection Act-zero carbon electricity by 2040</a:t>
            </a:r>
          </a:p>
          <a:p>
            <a:pPr marL="285750" indent="-285750">
              <a:buFont typeface="Arial" panose="020B0604020202020204" pitchFamily="34" charset="0"/>
              <a:buChar char="•"/>
            </a:pPr>
            <a:r>
              <a:rPr lang="en-US" sz="1400" dirty="0"/>
              <a:t>State Rent Control- Chapter 36 of 2019</a:t>
            </a:r>
          </a:p>
        </p:txBody>
      </p:sp>
      <p:sp>
        <p:nvSpPr>
          <p:cNvPr id="15" name="TextBox 14">
            <a:extLst>
              <a:ext uri="{FF2B5EF4-FFF2-40B4-BE49-F238E27FC236}">
                <a16:creationId xmlns:a16="http://schemas.microsoft.com/office/drawing/2014/main" id="{5382F64E-1299-4317-B0D4-4D5EA27A50A4}"/>
              </a:ext>
            </a:extLst>
          </p:cNvPr>
          <p:cNvSpPr txBox="1"/>
          <p:nvPr/>
        </p:nvSpPr>
        <p:spPr>
          <a:xfrm>
            <a:off x="2522048" y="4114899"/>
            <a:ext cx="6456445" cy="1169551"/>
          </a:xfrm>
          <a:prstGeom prst="rect">
            <a:avLst/>
          </a:prstGeom>
          <a:noFill/>
          <a:ln>
            <a:solidFill>
              <a:schemeClr val="bg2"/>
            </a:solidFill>
          </a:ln>
        </p:spPr>
        <p:txBody>
          <a:bodyPr wrap="square" rtlCol="0">
            <a:spAutoFit/>
          </a:bodyPr>
          <a:lstStyle/>
          <a:p>
            <a:pPr marL="285750" indent="-285750">
              <a:buFont typeface="Arial" panose="020B0604020202020204" pitchFamily="34" charset="0"/>
              <a:buChar char="•"/>
            </a:pPr>
            <a:r>
              <a:rPr lang="en-US" sz="1400" dirty="0"/>
              <a:t>Disincentive carbon reduction investments such as CHP that can be made now</a:t>
            </a:r>
          </a:p>
          <a:p>
            <a:pPr marL="285750" indent="-285750">
              <a:buFont typeface="Arial" panose="020B0604020202020204" pitchFamily="34" charset="0"/>
              <a:buChar char="•"/>
            </a:pPr>
            <a:r>
              <a:rPr lang="en-US" sz="1400" dirty="0"/>
              <a:t>Paralysis of action</a:t>
            </a:r>
          </a:p>
          <a:p>
            <a:pPr marL="285750" indent="-285750">
              <a:buFont typeface="Arial" panose="020B0604020202020204" pitchFamily="34" charset="0"/>
              <a:buChar char="•"/>
            </a:pPr>
            <a:r>
              <a:rPr lang="en-US" sz="1400" dirty="0"/>
              <a:t>Analysis needed to quantify these negative impacts </a:t>
            </a:r>
          </a:p>
          <a:p>
            <a:pPr marL="285750" indent="-285750">
              <a:buFont typeface="Arial" panose="020B0604020202020204" pitchFamily="34" charset="0"/>
              <a:buChar char="•"/>
            </a:pPr>
            <a:r>
              <a:rPr lang="en-US" sz="1400" dirty="0"/>
              <a:t>Develop and Analyze scenarios that mitigate these negative impacts</a:t>
            </a:r>
          </a:p>
        </p:txBody>
      </p:sp>
      <p:sp>
        <p:nvSpPr>
          <p:cNvPr id="17" name="TextBox 16">
            <a:extLst>
              <a:ext uri="{FF2B5EF4-FFF2-40B4-BE49-F238E27FC236}">
                <a16:creationId xmlns:a16="http://schemas.microsoft.com/office/drawing/2014/main" id="{FBB9D0F4-0391-4FEF-A53D-3D4B4FBA7A5D}"/>
              </a:ext>
            </a:extLst>
          </p:cNvPr>
          <p:cNvSpPr txBox="1"/>
          <p:nvPr/>
        </p:nvSpPr>
        <p:spPr>
          <a:xfrm>
            <a:off x="2507673" y="5804306"/>
            <a:ext cx="6456445" cy="738664"/>
          </a:xfrm>
          <a:prstGeom prst="rect">
            <a:avLst/>
          </a:prstGeom>
          <a:noFill/>
          <a:ln>
            <a:solidFill>
              <a:schemeClr val="bg2"/>
            </a:solidFill>
          </a:ln>
        </p:spPr>
        <p:txBody>
          <a:bodyPr wrap="square" rtlCol="0">
            <a:spAutoFit/>
          </a:bodyPr>
          <a:lstStyle/>
          <a:p>
            <a:pPr marL="285750" indent="-285750">
              <a:buFont typeface="Arial" panose="020B0604020202020204" pitchFamily="34" charset="0"/>
              <a:buChar char="•"/>
            </a:pPr>
            <a:r>
              <a:rPr lang="en-US" sz="1400" dirty="0"/>
              <a:t>Ideation for potential legislative/regulatory solutions</a:t>
            </a:r>
          </a:p>
          <a:p>
            <a:pPr marL="285750" indent="-285750">
              <a:buFont typeface="Arial" panose="020B0604020202020204" pitchFamily="34" charset="0"/>
              <a:buChar char="•"/>
            </a:pPr>
            <a:r>
              <a:rPr lang="en-US" sz="1400" dirty="0"/>
              <a:t>Propose agenda, timing, etc. for a workshop to gather stakeholder input and develop consensus</a:t>
            </a:r>
          </a:p>
        </p:txBody>
      </p:sp>
      <p:sp>
        <p:nvSpPr>
          <p:cNvPr id="18" name="TextBox 17">
            <a:extLst>
              <a:ext uri="{FF2B5EF4-FFF2-40B4-BE49-F238E27FC236}">
                <a16:creationId xmlns:a16="http://schemas.microsoft.com/office/drawing/2014/main" id="{EDE43F61-A0D6-457F-9738-B9C83D104911}"/>
              </a:ext>
            </a:extLst>
          </p:cNvPr>
          <p:cNvSpPr txBox="1"/>
          <p:nvPr/>
        </p:nvSpPr>
        <p:spPr>
          <a:xfrm>
            <a:off x="3016838" y="1335881"/>
            <a:ext cx="2733433" cy="369332"/>
          </a:xfrm>
          <a:prstGeom prst="rect">
            <a:avLst/>
          </a:prstGeom>
          <a:noFill/>
        </p:spPr>
        <p:txBody>
          <a:bodyPr wrap="square" rtlCol="0">
            <a:spAutoFit/>
          </a:bodyPr>
          <a:lstStyle/>
          <a:p>
            <a:r>
              <a:rPr lang="en-US" b="1" dirty="0"/>
              <a:t>White Paper Outline</a:t>
            </a:r>
          </a:p>
        </p:txBody>
      </p:sp>
      <p:sp>
        <p:nvSpPr>
          <p:cNvPr id="19" name="Slide Number Placeholder 2">
            <a:extLst>
              <a:ext uri="{FF2B5EF4-FFF2-40B4-BE49-F238E27FC236}">
                <a16:creationId xmlns:a16="http://schemas.microsoft.com/office/drawing/2014/main" id="{250619CF-264E-4834-B85E-6C31EB6FF119}"/>
              </a:ext>
            </a:extLst>
          </p:cNvPr>
          <p:cNvSpPr txBox="1">
            <a:spLocks/>
          </p:cNvSpPr>
          <p:nvPr/>
        </p:nvSpPr>
        <p:spPr>
          <a:xfrm>
            <a:off x="7618888" y="6600171"/>
            <a:ext cx="1512168" cy="196131"/>
          </a:xfrm>
          <a:prstGeom prst="rect">
            <a:avLst/>
          </a:prstGeom>
        </p:spPr>
        <p:txBody>
          <a:bodyPr vert="horz" lIns="0" tIns="0" rIns="0" bIns="0" rtlCol="0">
            <a:noAutofit/>
          </a:bodyPr>
          <a:lstStyle>
            <a:lvl1pPr marL="0" indent="0" algn="l" defTabSz="914400" rtl="0" eaLnBrk="1" latinLnBrk="0" hangingPunct="1">
              <a:spcBef>
                <a:spcPts val="600"/>
              </a:spcBef>
              <a:spcAft>
                <a:spcPts val="600"/>
              </a:spcAft>
              <a:buClrTx/>
              <a:buFont typeface="Arial" panose="020B0604020202020204" pitchFamily="34" charset="0"/>
              <a:buNone/>
              <a:defRPr sz="1600" kern="1200">
                <a:solidFill>
                  <a:schemeClr val="tx1"/>
                </a:solidFill>
                <a:latin typeface="+mn-lt"/>
                <a:ea typeface="Segoe UI" panose="020B0502040204020203" pitchFamily="34" charset="0"/>
                <a:cs typeface="Segoe UI" panose="020B0502040204020203" pitchFamily="34" charset="0"/>
              </a:defRPr>
            </a:lvl1pPr>
            <a:lvl2pPr marL="358775" indent="-358775" algn="l" defTabSz="914400" rtl="0" eaLnBrk="1" latinLnBrk="0" hangingPunct="1">
              <a:spcBef>
                <a:spcPts val="600"/>
              </a:spcBef>
              <a:spcAft>
                <a:spcPts val="600"/>
              </a:spcAft>
              <a:buClr>
                <a:schemeClr val="tx2"/>
              </a:buClr>
              <a:buFont typeface="Arial" pitchFamily="34" charset="0"/>
              <a:buChar char="•"/>
              <a:defRPr sz="1600" kern="1200">
                <a:solidFill>
                  <a:schemeClr val="tx1"/>
                </a:solidFill>
                <a:latin typeface="+mn-lt"/>
                <a:ea typeface="Segoe UI" panose="020B0502040204020203" pitchFamily="34" charset="0"/>
                <a:cs typeface="Segoe UI" panose="020B0502040204020203" pitchFamily="34" charset="0"/>
              </a:defRPr>
            </a:lvl2pPr>
            <a:lvl3pPr marL="715963" indent="-357188" algn="l" defTabSz="914400" rtl="0" eaLnBrk="1" latinLnBrk="0" hangingPunct="1">
              <a:spcBef>
                <a:spcPts val="600"/>
              </a:spcBef>
              <a:spcAft>
                <a:spcPts val="600"/>
              </a:spcAft>
              <a:buClr>
                <a:schemeClr val="tx2"/>
              </a:buClr>
              <a:buFont typeface="Segoe UI" panose="020B0502040204020203" pitchFamily="34" charset="0"/>
              <a:buChar char="̵"/>
              <a:tabLst/>
              <a:defRPr sz="1600" kern="1200">
                <a:solidFill>
                  <a:schemeClr val="tx1"/>
                </a:solidFill>
                <a:latin typeface="+mn-lt"/>
                <a:ea typeface="Segoe UI" panose="020B0502040204020203" pitchFamily="34" charset="0"/>
                <a:cs typeface="Segoe UI" panose="020B0502040204020203" pitchFamily="34" charset="0"/>
              </a:defRPr>
            </a:lvl3pPr>
            <a:lvl4pPr marL="1074738" indent="-358775" algn="l" defTabSz="914400" rtl="0" eaLnBrk="1" latinLnBrk="0" hangingPunct="1">
              <a:spcBef>
                <a:spcPts val="600"/>
              </a:spcBef>
              <a:spcAft>
                <a:spcPts val="600"/>
              </a:spcAft>
              <a:buClr>
                <a:schemeClr val="tx2"/>
              </a:buClr>
              <a:buFont typeface="Arial" pitchFamily="34" charset="0"/>
              <a:buChar char="•"/>
              <a:defRPr sz="1600" kern="1200">
                <a:solidFill>
                  <a:schemeClr val="tx1"/>
                </a:solidFill>
                <a:latin typeface="+mn-lt"/>
                <a:ea typeface="Segoe UI" panose="020B0502040204020203" pitchFamily="34" charset="0"/>
                <a:cs typeface="Segoe UI" panose="020B0502040204020203" pitchFamily="34" charset="0"/>
              </a:defRPr>
            </a:lvl4pPr>
            <a:lvl5pPr marL="1431925" indent="-357188" algn="l" defTabSz="914400" rtl="0" eaLnBrk="1" latinLnBrk="0" hangingPunct="1">
              <a:spcBef>
                <a:spcPts val="600"/>
              </a:spcBef>
              <a:spcAft>
                <a:spcPts val="600"/>
              </a:spcAft>
              <a:buClr>
                <a:schemeClr val="tx2"/>
              </a:buClr>
              <a:buFont typeface="Segoe UI" panose="020B0502040204020203" pitchFamily="34" charset="0"/>
              <a:buChar char="̵"/>
              <a:defRPr sz="1600" kern="1200" baseline="0">
                <a:solidFill>
                  <a:schemeClr val="tx1"/>
                </a:solidFill>
                <a:latin typeface="+mn-lt"/>
                <a:ea typeface="Segoe UI" panose="020B0502040204020203" pitchFamily="34" charset="0"/>
                <a:cs typeface="Segoe UI" panose="020B0502040204020203" pitchFamily="34" charset="0"/>
              </a:defRPr>
            </a:lvl5pPr>
            <a:lvl6pPr marL="17028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6pPr>
            <a:lvl7pPr marL="19656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7pPr>
            <a:lvl8pPr marL="22284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8pPr>
            <a:lvl9pPr marL="2491200" indent="-262800" algn="l" defTabSz="914400" rtl="0" eaLnBrk="1" latinLnBrk="0" hangingPunct="1">
              <a:spcBef>
                <a:spcPts val="0"/>
              </a:spcBef>
              <a:spcAft>
                <a:spcPts val="1200"/>
              </a:spcAft>
              <a:buClr>
                <a:schemeClr val="bg2"/>
              </a:buClr>
              <a:buFont typeface="Georgia" pitchFamily="18" charset="0"/>
              <a:buChar char="-"/>
              <a:defRPr sz="1200" kern="1200">
                <a:solidFill>
                  <a:schemeClr val="tx1"/>
                </a:solidFill>
                <a:latin typeface="+mn-lt"/>
                <a:ea typeface="+mn-ea"/>
                <a:cs typeface="+mn-cs"/>
              </a:defRPr>
            </a:lvl9pPr>
          </a:lstStyle>
          <a:p>
            <a:r>
              <a:rPr lang="en-AU" sz="800" dirty="0">
                <a:solidFill>
                  <a:prstClr val="white">
                    <a:lumMod val="50000"/>
                  </a:prstClr>
                </a:solidFill>
              </a:rPr>
              <a:t> </a:t>
            </a:r>
          </a:p>
        </p:txBody>
      </p:sp>
    </p:spTree>
    <p:extLst>
      <p:ext uri="{BB962C8B-B14F-4D97-AF65-F5344CB8AC3E}">
        <p14:creationId xmlns:p14="http://schemas.microsoft.com/office/powerpoint/2010/main" val="33527859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DVISIAN WHITE">
  <a:themeElements>
    <a:clrScheme name="Advisian Colour Theme">
      <a:dk1>
        <a:srgbClr val="000000"/>
      </a:dk1>
      <a:lt1>
        <a:srgbClr val="FFFFFF"/>
      </a:lt1>
      <a:dk2>
        <a:srgbClr val="172934"/>
      </a:dk2>
      <a:lt2>
        <a:srgbClr val="A38F68"/>
      </a:lt2>
      <a:accent1>
        <a:srgbClr val="005F83"/>
      </a:accent1>
      <a:accent2>
        <a:srgbClr val="D50965"/>
      </a:accent2>
      <a:accent3>
        <a:srgbClr val="00AEEF"/>
      </a:accent3>
      <a:accent4>
        <a:srgbClr val="0C0C0C"/>
      </a:accent4>
      <a:accent5>
        <a:srgbClr val="7F7F7F"/>
      </a:accent5>
      <a:accent6>
        <a:srgbClr val="000000"/>
      </a:accent6>
      <a:hlink>
        <a:srgbClr val="005F83"/>
      </a:hlink>
      <a:folHlink>
        <a:srgbClr val="00AEEF"/>
      </a:folHlink>
    </a:clrScheme>
    <a:fontScheme name="Advisian Font Theme">
      <a:majorFont>
        <a:latin typeface="Segoe UI Semibold"/>
        <a:ea typeface=""/>
        <a:cs typeface="Segoe UI"/>
      </a:majorFont>
      <a:minorFont>
        <a:latin typeface="Segoe UI"/>
        <a:ea typeface=""/>
        <a:cs typeface="Segoe UI"/>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DVISIAN FULL PAGE IMAGE WITH GRADUATED BACKGROUND">
  <a:themeElements>
    <a:clrScheme name="Advisian Colour Theme">
      <a:dk1>
        <a:srgbClr val="000000"/>
      </a:dk1>
      <a:lt1>
        <a:srgbClr val="FFFFFF"/>
      </a:lt1>
      <a:dk2>
        <a:srgbClr val="172934"/>
      </a:dk2>
      <a:lt2>
        <a:srgbClr val="A38F68"/>
      </a:lt2>
      <a:accent1>
        <a:srgbClr val="005F83"/>
      </a:accent1>
      <a:accent2>
        <a:srgbClr val="D50965"/>
      </a:accent2>
      <a:accent3>
        <a:srgbClr val="00AEEF"/>
      </a:accent3>
      <a:accent4>
        <a:srgbClr val="0C0C0C"/>
      </a:accent4>
      <a:accent5>
        <a:srgbClr val="7F7F7F"/>
      </a:accent5>
      <a:accent6>
        <a:srgbClr val="000000"/>
      </a:accent6>
      <a:hlink>
        <a:srgbClr val="005F83"/>
      </a:hlink>
      <a:folHlink>
        <a:srgbClr val="00AEEF"/>
      </a:folHlink>
    </a:clrScheme>
    <a:fontScheme name="Advisian Font Theme">
      <a:majorFont>
        <a:latin typeface="Segoe UI Semibold"/>
        <a:ea typeface=""/>
        <a:cs typeface="Segoe UI"/>
      </a:majorFont>
      <a:minorFont>
        <a:latin typeface="Segoe UI"/>
        <a:ea typeface=""/>
        <a:cs typeface="Segoe UI"/>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ADVISIAN INTENSE CHARCOAL">
  <a:themeElements>
    <a:clrScheme name="Advisian Colour Theme">
      <a:dk1>
        <a:srgbClr val="000000"/>
      </a:dk1>
      <a:lt1>
        <a:srgbClr val="FFFFFF"/>
      </a:lt1>
      <a:dk2>
        <a:srgbClr val="172934"/>
      </a:dk2>
      <a:lt2>
        <a:srgbClr val="A38F68"/>
      </a:lt2>
      <a:accent1>
        <a:srgbClr val="005F83"/>
      </a:accent1>
      <a:accent2>
        <a:srgbClr val="D50965"/>
      </a:accent2>
      <a:accent3>
        <a:srgbClr val="00AEEF"/>
      </a:accent3>
      <a:accent4>
        <a:srgbClr val="0C0C0C"/>
      </a:accent4>
      <a:accent5>
        <a:srgbClr val="7F7F7F"/>
      </a:accent5>
      <a:accent6>
        <a:srgbClr val="005F83"/>
      </a:accent6>
      <a:hlink>
        <a:srgbClr val="005F83"/>
      </a:hlink>
      <a:folHlink>
        <a:srgbClr val="00AEEF"/>
      </a:folHlink>
    </a:clrScheme>
    <a:fontScheme name="Advisian Font Theme">
      <a:majorFont>
        <a:latin typeface="Segoe UI Semibold"/>
        <a:ea typeface=""/>
        <a:cs typeface="Segoe UI"/>
      </a:majorFont>
      <a:minorFont>
        <a:latin typeface="Segoe UI"/>
        <a:ea typeface=""/>
        <a:cs typeface="Segoe UI"/>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ADVISIAN ABSOLUTE GOLD">
  <a:themeElements>
    <a:clrScheme name="Advisian Colour Theme">
      <a:dk1>
        <a:srgbClr val="000000"/>
      </a:dk1>
      <a:lt1>
        <a:srgbClr val="FFFFFF"/>
      </a:lt1>
      <a:dk2>
        <a:srgbClr val="172934"/>
      </a:dk2>
      <a:lt2>
        <a:srgbClr val="A38F68"/>
      </a:lt2>
      <a:accent1>
        <a:srgbClr val="005F83"/>
      </a:accent1>
      <a:accent2>
        <a:srgbClr val="D50965"/>
      </a:accent2>
      <a:accent3>
        <a:srgbClr val="00AEEF"/>
      </a:accent3>
      <a:accent4>
        <a:srgbClr val="0C0C0C"/>
      </a:accent4>
      <a:accent5>
        <a:srgbClr val="7F7F7F"/>
      </a:accent5>
      <a:accent6>
        <a:srgbClr val="000000"/>
      </a:accent6>
      <a:hlink>
        <a:srgbClr val="005F83"/>
      </a:hlink>
      <a:folHlink>
        <a:srgbClr val="00AEEF"/>
      </a:folHlink>
    </a:clrScheme>
    <a:fontScheme name="Advisian Font Theme">
      <a:majorFont>
        <a:latin typeface="Segoe UI Semibold"/>
        <a:ea typeface=""/>
        <a:cs typeface="Segoe UI"/>
      </a:majorFont>
      <a:minorFont>
        <a:latin typeface="Segoe UI"/>
        <a:ea typeface=""/>
        <a:cs typeface="Segoe UI"/>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ADVISIAN BLUE LEADER">
  <a:themeElements>
    <a:clrScheme name="Advisian Colour Theme">
      <a:dk1>
        <a:srgbClr val="000000"/>
      </a:dk1>
      <a:lt1>
        <a:srgbClr val="FFFFFF"/>
      </a:lt1>
      <a:dk2>
        <a:srgbClr val="172934"/>
      </a:dk2>
      <a:lt2>
        <a:srgbClr val="A38F68"/>
      </a:lt2>
      <a:accent1>
        <a:srgbClr val="005F83"/>
      </a:accent1>
      <a:accent2>
        <a:srgbClr val="D50965"/>
      </a:accent2>
      <a:accent3>
        <a:srgbClr val="00AEEF"/>
      </a:accent3>
      <a:accent4>
        <a:srgbClr val="0C0C0C"/>
      </a:accent4>
      <a:accent5>
        <a:srgbClr val="7F7F7F"/>
      </a:accent5>
      <a:accent6>
        <a:srgbClr val="000000"/>
      </a:accent6>
      <a:hlink>
        <a:srgbClr val="005F83"/>
      </a:hlink>
      <a:folHlink>
        <a:srgbClr val="00AEEF"/>
      </a:folHlink>
    </a:clrScheme>
    <a:fontScheme name="Advisian Font Theme">
      <a:majorFont>
        <a:latin typeface="Segoe UI Semibold"/>
        <a:ea typeface=""/>
        <a:cs typeface="Segoe UI"/>
      </a:majorFont>
      <a:minorFont>
        <a:latin typeface="Segoe UI"/>
        <a:ea typeface=""/>
        <a:cs typeface="Segoe UI"/>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ADVISIAN COURAGEOUS PINK">
  <a:themeElements>
    <a:clrScheme name="Advisian Colour Theme">
      <a:dk1>
        <a:srgbClr val="000000"/>
      </a:dk1>
      <a:lt1>
        <a:srgbClr val="FFFFFF"/>
      </a:lt1>
      <a:dk2>
        <a:srgbClr val="172934"/>
      </a:dk2>
      <a:lt2>
        <a:srgbClr val="A38F68"/>
      </a:lt2>
      <a:accent1>
        <a:srgbClr val="005F83"/>
      </a:accent1>
      <a:accent2>
        <a:srgbClr val="D50965"/>
      </a:accent2>
      <a:accent3>
        <a:srgbClr val="00AEEF"/>
      </a:accent3>
      <a:accent4>
        <a:srgbClr val="0C0C0C"/>
      </a:accent4>
      <a:accent5>
        <a:srgbClr val="7F7F7F"/>
      </a:accent5>
      <a:accent6>
        <a:srgbClr val="000000"/>
      </a:accent6>
      <a:hlink>
        <a:srgbClr val="005F83"/>
      </a:hlink>
      <a:folHlink>
        <a:srgbClr val="00AEEF"/>
      </a:folHlink>
    </a:clrScheme>
    <a:fontScheme name="Advisian Font Theme">
      <a:majorFont>
        <a:latin typeface="Segoe UI Semibold"/>
        <a:ea typeface=""/>
        <a:cs typeface="Segoe UI"/>
      </a:majorFont>
      <a:minorFont>
        <a:latin typeface="Segoe UI"/>
        <a:ea typeface=""/>
        <a:cs typeface="Segoe UI"/>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7.xml><?xml version="1.0" encoding="utf-8"?>
<a:theme xmlns:a="http://schemas.openxmlformats.org/drawingml/2006/main" name="ADVISIAN PASSIONATE BLUE">
  <a:themeElements>
    <a:clrScheme name="Advisian Colour Theme">
      <a:dk1>
        <a:srgbClr val="000000"/>
      </a:dk1>
      <a:lt1>
        <a:srgbClr val="FFFFFF"/>
      </a:lt1>
      <a:dk2>
        <a:srgbClr val="172934"/>
      </a:dk2>
      <a:lt2>
        <a:srgbClr val="A38F68"/>
      </a:lt2>
      <a:accent1>
        <a:srgbClr val="005F83"/>
      </a:accent1>
      <a:accent2>
        <a:srgbClr val="D50965"/>
      </a:accent2>
      <a:accent3>
        <a:srgbClr val="00AEEF"/>
      </a:accent3>
      <a:accent4>
        <a:srgbClr val="0C0C0C"/>
      </a:accent4>
      <a:accent5>
        <a:srgbClr val="7F7F7F"/>
      </a:accent5>
      <a:accent6>
        <a:srgbClr val="000000"/>
      </a:accent6>
      <a:hlink>
        <a:srgbClr val="005F83"/>
      </a:hlink>
      <a:folHlink>
        <a:srgbClr val="00AEEF"/>
      </a:folHlink>
    </a:clrScheme>
    <a:fontScheme name="Advisian Font Theme">
      <a:majorFont>
        <a:latin typeface="Segoe UI Semibold"/>
        <a:ea typeface=""/>
        <a:cs typeface="Segoe UI"/>
      </a:majorFont>
      <a:minorFont>
        <a:latin typeface="Segoe UI"/>
        <a:ea typeface=""/>
        <a:cs typeface="Segoe UI"/>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8.xml><?xml version="1.0" encoding="utf-8"?>
<a:theme xmlns:a="http://schemas.openxmlformats.org/drawingml/2006/main" name="Advisian">
  <a:themeElements>
    <a:clrScheme name="Advisian Colour Theme">
      <a:dk1>
        <a:srgbClr val="000000"/>
      </a:dk1>
      <a:lt1>
        <a:srgbClr val="FFFFFF"/>
      </a:lt1>
      <a:dk2>
        <a:srgbClr val="172934"/>
      </a:dk2>
      <a:lt2>
        <a:srgbClr val="A38F68"/>
      </a:lt2>
      <a:accent1>
        <a:srgbClr val="005F83"/>
      </a:accent1>
      <a:accent2>
        <a:srgbClr val="D50965"/>
      </a:accent2>
      <a:accent3>
        <a:srgbClr val="00AEEF"/>
      </a:accent3>
      <a:accent4>
        <a:srgbClr val="172934"/>
      </a:accent4>
      <a:accent5>
        <a:srgbClr val="7F7F7F"/>
      </a:accent5>
      <a:accent6>
        <a:srgbClr val="005F83"/>
      </a:accent6>
      <a:hlink>
        <a:srgbClr val="005F83"/>
      </a:hlink>
      <a:folHlink>
        <a:srgbClr val="00AEEF"/>
      </a:folHlink>
    </a:clrScheme>
    <a:fontScheme name="Advisian Font Theme">
      <a:majorFont>
        <a:latin typeface="Segoe UI Semibold"/>
        <a:ea typeface=""/>
        <a:cs typeface="Segoe UI"/>
      </a:majorFont>
      <a:minorFont>
        <a:latin typeface="Segoe UI"/>
        <a:ea typeface=""/>
        <a:cs typeface="Segoe UI"/>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9.xml><?xml version="1.0" encoding="utf-8"?>
<a:theme xmlns:a="http://schemas.openxmlformats.org/drawingml/2006/main" name="1_ADVISIAN WHITE">
  <a:themeElements>
    <a:clrScheme name="Advisian Colour Theme">
      <a:dk1>
        <a:srgbClr val="000000"/>
      </a:dk1>
      <a:lt1>
        <a:srgbClr val="FFFFFF"/>
      </a:lt1>
      <a:dk2>
        <a:srgbClr val="172934"/>
      </a:dk2>
      <a:lt2>
        <a:srgbClr val="A38F68"/>
      </a:lt2>
      <a:accent1>
        <a:srgbClr val="005F83"/>
      </a:accent1>
      <a:accent2>
        <a:srgbClr val="D50965"/>
      </a:accent2>
      <a:accent3>
        <a:srgbClr val="00AEEF"/>
      </a:accent3>
      <a:accent4>
        <a:srgbClr val="0C0C0C"/>
      </a:accent4>
      <a:accent5>
        <a:srgbClr val="7F7F7F"/>
      </a:accent5>
      <a:accent6>
        <a:srgbClr val="000000"/>
      </a:accent6>
      <a:hlink>
        <a:srgbClr val="005F83"/>
      </a:hlink>
      <a:folHlink>
        <a:srgbClr val="00AEEF"/>
      </a:folHlink>
    </a:clrScheme>
    <a:fontScheme name="Advisian Font Theme">
      <a:majorFont>
        <a:latin typeface="Segoe UI Semibold"/>
        <a:ea typeface=""/>
        <a:cs typeface="Segoe UI"/>
      </a:majorFont>
      <a:minorFont>
        <a:latin typeface="Segoe UI"/>
        <a:ea typeface=""/>
        <a:cs typeface="Segoe UI"/>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A8701FFF3341841992A447A164971E0" ma:contentTypeVersion="4" ma:contentTypeDescription="Create a new document." ma:contentTypeScope="" ma:versionID="7cc9f5e6365bfc105da142131c90ab36">
  <xsd:schema xmlns:xsd="http://www.w3.org/2001/XMLSchema" xmlns:xs="http://www.w3.org/2001/XMLSchema" xmlns:p="http://schemas.microsoft.com/office/2006/metadata/properties" xmlns:ns2="e88dbe6a-0251-452b-bf72-ab079f28cef0" targetNamespace="http://schemas.microsoft.com/office/2006/metadata/properties" ma:root="true" ma:fieldsID="4683a777952c6b6567c0c123e92fbed1" ns2:_="">
    <xsd:import namespace="e88dbe6a-0251-452b-bf72-ab079f28cef0"/>
    <xsd:element name="properties">
      <xsd:complexType>
        <xsd:sequence>
          <xsd:element name="documentManagement">
            <xsd:complexType>
              <xsd:all>
                <xsd:element ref="ns2:Templates" minOccurs="0"/>
                <xsd:element ref="ns2:Branding" minOccurs="0"/>
                <xsd:element ref="ns2:Description0" minOccurs="0"/>
                <xsd:element ref="ns2:UR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88dbe6a-0251-452b-bf72-ab079f28cef0" elementFormDefault="qualified">
    <xsd:import namespace="http://schemas.microsoft.com/office/2006/documentManagement/types"/>
    <xsd:import namespace="http://schemas.microsoft.com/office/infopath/2007/PartnerControls"/>
    <xsd:element name="Templates" ma:index="8" nillable="true" ma:displayName="Template" ma:internalName="Templates">
      <xsd:simpleType>
        <xsd:restriction base="dms:Text">
          <xsd:maxLength value="255"/>
        </xsd:restriction>
      </xsd:simpleType>
    </xsd:element>
    <xsd:element name="Branding" ma:index="9" nillable="true" ma:displayName="Branding" ma:default="Advisian" ma:format="Dropdown" ma:internalName="Branding">
      <xsd:simpleType>
        <xsd:restriction base="dms:Choice">
          <xsd:enumeration value="Co-branded"/>
          <xsd:enumeration value="Advisian"/>
          <xsd:enumeration value="INTECSEA"/>
        </xsd:restriction>
      </xsd:simpleType>
    </xsd:element>
    <xsd:element name="Description0" ma:index="10" nillable="true" ma:displayName="Description" ma:internalName="Description0">
      <xsd:simpleType>
        <xsd:restriction base="dms:Note">
          <xsd:maxLength value="255"/>
        </xsd:restriction>
      </xsd:simpleType>
    </xsd:element>
    <xsd:element name="URL" ma:index="11" nillable="true" ma:displayName="Download" ma:format="Hyperlink" ma:internalName="URL">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URL xmlns="e88dbe6a-0251-452b-bf72-ab079f28cef0">
      <Url>http://one.worleyparsons.com/sites/adv/BC/PPT%20Templates/Advisian%20Timesaver%20template%202018.pptx</Url>
      <Description>Advisian Timesaver Template 2018</Description>
    </URL>
    <Templates xmlns="e88dbe6a-0251-452b-bf72-ab079f28cef0">Timesaver template</Templates>
    <Description0 xmlns="e88dbe6a-0251-452b-bf72-ab079f28cef0">This TimeSaver template has been designed to offer you a range of options for charts, infographics and iconography that you may find useful. Updated June 2018</Description0>
    <Branding xmlns="e88dbe6a-0251-452b-bf72-ab079f28cef0">Co-branded</Branding>
  </documentManagement>
</p:properties>
</file>

<file path=customXml/itemProps1.xml><?xml version="1.0" encoding="utf-8"?>
<ds:datastoreItem xmlns:ds="http://schemas.openxmlformats.org/officeDocument/2006/customXml" ds:itemID="{954A5103-DBFC-4201-AC6D-5413D481E428}">
  <ds:schemaRefs>
    <ds:schemaRef ds:uri="http://schemas.microsoft.com/sharepoint/v3/contenttype/forms"/>
  </ds:schemaRefs>
</ds:datastoreItem>
</file>

<file path=customXml/itemProps2.xml><?xml version="1.0" encoding="utf-8"?>
<ds:datastoreItem xmlns:ds="http://schemas.openxmlformats.org/officeDocument/2006/customXml" ds:itemID="{03473198-4A5B-43FC-BB91-445D893447F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88dbe6a-0251-452b-bf72-ab079f28cef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7164A5F-9197-4DD1-A1DD-7C05BF33CF11}">
  <ds:schemaRefs>
    <ds:schemaRef ds:uri="e88dbe6a-0251-452b-bf72-ab079f28cef0"/>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22085</TotalTime>
  <Words>152</Words>
  <Application>Microsoft Office PowerPoint</Application>
  <PresentationFormat>On-screen Show (4:3)</PresentationFormat>
  <Paragraphs>17</Paragraphs>
  <Slides>1</Slides>
  <Notes>1</Notes>
  <HiddenSlides>0</HiddenSlides>
  <MMClips>0</MMClips>
  <ScaleCrop>false</ScaleCrop>
  <HeadingPairs>
    <vt:vector size="8" baseType="variant">
      <vt:variant>
        <vt:lpstr>Fonts Used</vt:lpstr>
      </vt:variant>
      <vt:variant>
        <vt:i4>10</vt:i4>
      </vt:variant>
      <vt:variant>
        <vt:lpstr>Theme</vt:lpstr>
      </vt:variant>
      <vt:variant>
        <vt:i4>9</vt:i4>
      </vt:variant>
      <vt:variant>
        <vt:lpstr>Embedded OLE Servers</vt:lpstr>
      </vt:variant>
      <vt:variant>
        <vt:i4>1</vt:i4>
      </vt:variant>
      <vt:variant>
        <vt:lpstr>Slide Titles</vt:lpstr>
      </vt:variant>
      <vt:variant>
        <vt:i4>1</vt:i4>
      </vt:variant>
    </vt:vector>
  </HeadingPairs>
  <TitlesOfParts>
    <vt:vector size="21" baseType="lpstr">
      <vt:lpstr>Arial</vt:lpstr>
      <vt:lpstr>Calibri</vt:lpstr>
      <vt:lpstr>Franklin Gothic Book</vt:lpstr>
      <vt:lpstr>Franklin Gothic Medium</vt:lpstr>
      <vt:lpstr>Franklin Gothic Medium Cond</vt:lpstr>
      <vt:lpstr>Georgia</vt:lpstr>
      <vt:lpstr>Segoe UI</vt:lpstr>
      <vt:lpstr>Segoe UI Light</vt:lpstr>
      <vt:lpstr>Segoe UI Semibold</vt:lpstr>
      <vt:lpstr>Wingdings</vt:lpstr>
      <vt:lpstr>ADVISIAN WHITE</vt:lpstr>
      <vt:lpstr>ADVISIAN FULL PAGE IMAGE WITH GRADUATED BACKGROUND</vt:lpstr>
      <vt:lpstr>ADVISIAN INTENSE CHARCOAL</vt:lpstr>
      <vt:lpstr>ADVISIAN ABSOLUTE GOLD</vt:lpstr>
      <vt:lpstr>ADVISIAN BLUE LEADER</vt:lpstr>
      <vt:lpstr>ADVISIAN COURAGEOUS PINK</vt:lpstr>
      <vt:lpstr>ADVISIAN PASSIONATE BLUE</vt:lpstr>
      <vt:lpstr>Advisian</vt:lpstr>
      <vt:lpstr>1_ADVISIAN WHITE</vt:lpstr>
      <vt:lpstr>think-cell Slide</vt:lpstr>
      <vt:lpstr>While NY is leading the way, reconciliation and alignment is needed across all the climate intiatives</vt:lpstr>
    </vt:vector>
  </TitlesOfParts>
  <Company>WorleyParso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visian Timesaver template</dc:title>
  <dc:creator>Sonia Pupavac (Brisbane)</dc:creator>
  <cp:lastModifiedBy>Leatherman, Gary (Advisian)</cp:lastModifiedBy>
  <cp:revision>313</cp:revision>
  <cp:lastPrinted>2015-08-25T09:53:18Z</cp:lastPrinted>
  <dcterms:created xsi:type="dcterms:W3CDTF">2017-01-23T03:17:48Z</dcterms:created>
  <dcterms:modified xsi:type="dcterms:W3CDTF">2019-09-05T02:01: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A8701FFF3341841992A447A164971E0</vt:lpwstr>
  </property>
</Properties>
</file>